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3.xml" ContentType="application/vnd.openxmlformats-officedocument.them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4.xml" ContentType="application/vnd.openxmlformats-officedocument.them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theme/theme5.xml" ContentType="application/vnd.openxmlformats-officedocument.theme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theme/theme6.xml" ContentType="application/vnd.openxmlformats-officedocument.theme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theme/theme7.xml" ContentType="application/vnd.openxmlformats-officedocument.theme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theme/theme8.xml" ContentType="application/vnd.openxmlformats-officedocument.theme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charts/chart2.xml" ContentType="application/vnd.openxmlformats-officedocument.drawingml.chart+xml"/>
  <Override PartName="/ppt/theme/themeOverride2.xml" ContentType="application/vnd.openxmlformats-officedocument.themeOverride+xml"/>
  <Override PartName="/ppt/drawings/drawing1.xml" ContentType="application/vnd.openxmlformats-officedocument.drawingml.chartshapes+xml"/>
  <Override PartName="/ppt/charts/chart3.xml" ContentType="application/vnd.openxmlformats-officedocument.drawingml.chart+xml"/>
  <Override PartName="/ppt/theme/themeOverride3.xml" ContentType="application/vnd.openxmlformats-officedocument.themeOverride+xml"/>
  <Override PartName="/ppt/charts/chart4.xml" ContentType="application/vnd.openxmlformats-officedocument.drawingml.chart+xml"/>
  <Override PartName="/ppt/theme/themeOverride4.xml" ContentType="application/vnd.openxmlformats-officedocument.themeOverride+xml"/>
  <Override PartName="/ppt/charts/chart5.xml" ContentType="application/vnd.openxmlformats-officedocument.drawingml.chart+xml"/>
  <Override PartName="/ppt/theme/themeOverride5.xml" ContentType="application/vnd.openxmlformats-officedocument.themeOverride+xml"/>
  <Override PartName="/ppt/drawings/drawing2.xml" ContentType="application/vnd.openxmlformats-officedocument.drawingml.chartshapes+xml"/>
  <Override PartName="/ppt/charts/chart6.xml" ContentType="application/vnd.openxmlformats-officedocument.drawingml.chart+xml"/>
  <Override PartName="/ppt/theme/themeOverride6.xml" ContentType="application/vnd.openxmlformats-officedocument.themeOverride+xml"/>
  <Override PartName="/ppt/charts/chart7.xml" ContentType="application/vnd.openxmlformats-officedocument.drawingml.chart+xml"/>
  <Override PartName="/ppt/theme/themeOverride7.xml" ContentType="application/vnd.openxmlformats-officedocument.themeOverride+xml"/>
  <Override PartName="/ppt/charts/chart8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8.xml" ContentType="application/vnd.openxmlformats-officedocument.themeOverride+xml"/>
  <Override PartName="/ppt/charts/chart9.xml" ContentType="application/vnd.openxmlformats-officedocument.drawingml.chart+xml"/>
  <Override PartName="/ppt/theme/themeOverride9.xml" ContentType="application/vnd.openxmlformats-officedocument.themeOverride+xml"/>
  <Override PartName="/ppt/charts/chart10.xml" ContentType="application/vnd.openxmlformats-officedocument.drawingml.chart+xml"/>
  <Override PartName="/ppt/theme/themeOverride10.xml" ContentType="application/vnd.openxmlformats-officedocument.themeOverride+xml"/>
  <Override PartName="/ppt/drawings/drawing3.xml" ContentType="application/vnd.openxmlformats-officedocument.drawingml.chartshapes+xml"/>
  <Override PartName="/ppt/charts/chart11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heme/themeOverride11.xml" ContentType="application/vnd.openxmlformats-officedocument.themeOverride+xml"/>
  <Override PartName="/ppt/drawings/drawing4.xml" ContentType="application/vnd.openxmlformats-officedocument.drawingml.chartshapes+xml"/>
  <Override PartName="/ppt/charts/chart12.xml" ContentType="application/vnd.openxmlformats-officedocument.drawingml.chart+xml"/>
  <Override PartName="/ppt/theme/themeOverride12.xml" ContentType="application/vnd.openxmlformats-officedocument.themeOverride+xml"/>
  <Override PartName="/ppt/drawings/drawing5.xml" ContentType="application/vnd.openxmlformats-officedocument.drawingml.chartshapes+xml"/>
  <Override PartName="/ppt/charts/chart13.xml" ContentType="application/vnd.openxmlformats-officedocument.drawingml.chart+xml"/>
  <Override PartName="/ppt/theme/themeOverride13.xml" ContentType="application/vnd.openxmlformats-officedocument.themeOverride+xml"/>
  <Override PartName="/ppt/charts/chart14.xml" ContentType="application/vnd.openxmlformats-officedocument.drawingml.chart+xml"/>
  <Override PartName="/ppt/theme/themeOverride14.xml" ContentType="application/vnd.openxmlformats-officedocument.themeOverride+xml"/>
  <Override PartName="/ppt/charts/chart15.xml" ContentType="application/vnd.openxmlformats-officedocument.drawingml.chart+xml"/>
  <Override PartName="/ppt/theme/themeOverride15.xml" ContentType="application/vnd.openxmlformats-officedocument.themeOverride+xml"/>
  <Override PartName="/ppt/charts/chart16.xml" ContentType="application/vnd.openxmlformats-officedocument.drawingml.chart+xml"/>
  <Override PartName="/ppt/theme/themeOverride16.xml" ContentType="application/vnd.openxmlformats-officedocument.themeOverr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3" r:id="rId5"/>
    <p:sldMasterId id="2147483682" r:id="rId6"/>
    <p:sldMasterId id="2147483695" r:id="rId7"/>
    <p:sldMasterId id="2147483704" r:id="rId8"/>
    <p:sldMasterId id="2147483717" r:id="rId9"/>
    <p:sldMasterId id="2147483726" r:id="rId10"/>
    <p:sldMasterId id="2147483739" r:id="rId11"/>
  </p:sldMasterIdLst>
  <p:sldIdLst>
    <p:sldId id="256" r:id="rId12"/>
    <p:sldId id="267" r:id="rId13"/>
    <p:sldId id="259" r:id="rId14"/>
    <p:sldId id="257" r:id="rId15"/>
    <p:sldId id="274" r:id="rId16"/>
    <p:sldId id="260" r:id="rId17"/>
    <p:sldId id="261" r:id="rId18"/>
    <p:sldId id="262" r:id="rId19"/>
    <p:sldId id="263" r:id="rId20"/>
    <p:sldId id="264" r:id="rId21"/>
    <p:sldId id="269" r:id="rId22"/>
    <p:sldId id="265" r:id="rId23"/>
    <p:sldId id="266" r:id="rId24"/>
    <p:sldId id="268" r:id="rId25"/>
    <p:sldId id="270" r:id="rId26"/>
    <p:sldId id="272" r:id="rId27"/>
    <p:sldId id="273" r:id="rId28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E2AC00"/>
    <a:srgbClr val="99D563"/>
    <a:srgbClr val="D46C2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 varScale="1">
        <p:scale>
          <a:sx n="80" d="100"/>
          <a:sy n="80" d="100"/>
        </p:scale>
        <p:origin x="62" y="11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2.xml"/><Relationship Id="rId18" Type="http://schemas.openxmlformats.org/officeDocument/2006/relationships/slide" Target="slides/slide7.xml"/><Relationship Id="rId26" Type="http://schemas.openxmlformats.org/officeDocument/2006/relationships/slide" Target="slides/slide15.xml"/><Relationship Id="rId3" Type="http://schemas.openxmlformats.org/officeDocument/2006/relationships/customXml" Target="../customXml/item3.xml"/><Relationship Id="rId21" Type="http://schemas.openxmlformats.org/officeDocument/2006/relationships/slide" Target="slides/slide10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1.xml"/><Relationship Id="rId17" Type="http://schemas.openxmlformats.org/officeDocument/2006/relationships/slide" Target="slides/slide6.xml"/><Relationship Id="rId25" Type="http://schemas.openxmlformats.org/officeDocument/2006/relationships/slide" Target="slides/slide14.xml"/><Relationship Id="rId2" Type="http://schemas.openxmlformats.org/officeDocument/2006/relationships/customXml" Target="../customXml/item2.xml"/><Relationship Id="rId16" Type="http://schemas.openxmlformats.org/officeDocument/2006/relationships/slide" Target="slides/slide5.xml"/><Relationship Id="rId20" Type="http://schemas.openxmlformats.org/officeDocument/2006/relationships/slide" Target="slides/slide9.xml"/><Relationship Id="rId29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13.xml"/><Relationship Id="rId32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4.xml"/><Relationship Id="rId23" Type="http://schemas.openxmlformats.org/officeDocument/2006/relationships/slide" Target="slides/slide12.xml"/><Relationship Id="rId28" Type="http://schemas.openxmlformats.org/officeDocument/2006/relationships/slide" Target="slides/slide17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8.xml"/><Relationship Id="rId31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3.xml"/><Relationship Id="rId22" Type="http://schemas.openxmlformats.org/officeDocument/2006/relationships/slide" Target="slides/slide11.xml"/><Relationship Id="rId27" Type="http://schemas.openxmlformats.org/officeDocument/2006/relationships/slide" Target="slides/slide16.xml"/><Relationship Id="rId30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oleObject" Target="file:///C:\Users\Ali%20&#199;ufadar\Documents\rusya_toplant&#305;s&#305;.xlsx" TargetMode="External"/><Relationship Id="rId1" Type="http://schemas.openxmlformats.org/officeDocument/2006/relationships/themeOverride" Target="../theme/themeOverrid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chartUserShapes" Target="../drawings/drawing3.xml"/><Relationship Id="rId2" Type="http://schemas.openxmlformats.org/officeDocument/2006/relationships/oleObject" Target="file:///C:\Users\Ali%20&#199;ufadar\Documents\rusya_toplant&#305;s&#305;.xlsx" TargetMode="External"/><Relationship Id="rId1" Type="http://schemas.openxmlformats.org/officeDocument/2006/relationships/themeOverride" Target="../theme/themeOverride10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1.xml"/><Relationship Id="rId2" Type="http://schemas.microsoft.com/office/2011/relationships/chartColorStyle" Target="colors2.xml"/><Relationship Id="rId1" Type="http://schemas.microsoft.com/office/2011/relationships/chartStyle" Target="style2.xml"/><Relationship Id="rId5" Type="http://schemas.openxmlformats.org/officeDocument/2006/relationships/chartUserShapes" Target="../drawings/drawing4.xml"/><Relationship Id="rId4" Type="http://schemas.openxmlformats.org/officeDocument/2006/relationships/oleObject" Target="file:///C:\Users\Ali%20&#199;ufadar\Documents\rusya_toplant&#305;s&#305;.xlsx" TargetMode="Externa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chartUserShapes" Target="../drawings/drawing5.xml"/><Relationship Id="rId2" Type="http://schemas.openxmlformats.org/officeDocument/2006/relationships/oleObject" Target="file:///C:\Users\Ali%20&#199;ufadar\Documents\CDS'ler.xlsx" TargetMode="External"/><Relationship Id="rId1" Type="http://schemas.openxmlformats.org/officeDocument/2006/relationships/themeOverride" Target="../theme/themeOverride12.xml"/></Relationships>
</file>

<file path=ppt/charts/_rels/chart13.xml.rels><?xml version="1.0" encoding="UTF-8" standalone="yes"?>
<Relationships xmlns="http://schemas.openxmlformats.org/package/2006/relationships"><Relationship Id="rId2" Type="http://schemas.openxmlformats.org/officeDocument/2006/relationships/oleObject" Target="file:///C:\Users\Ali%20&#199;ufadar\Documents\rusya_toplant&#305;s&#305;.xlsx" TargetMode="External"/><Relationship Id="rId1" Type="http://schemas.openxmlformats.org/officeDocument/2006/relationships/themeOverride" Target="../theme/themeOverride13.xml"/></Relationships>
</file>

<file path=ppt/charts/_rels/chart14.xml.rels><?xml version="1.0" encoding="UTF-8" standalone="yes"?>
<Relationships xmlns="http://schemas.openxmlformats.org/package/2006/relationships"><Relationship Id="rId2" Type="http://schemas.openxmlformats.org/officeDocument/2006/relationships/oleObject" Target="file:///C:\Users\Ali%20&#199;ufadar\Documents\rusya_toplant&#305;s&#305;.xlsx" TargetMode="External"/><Relationship Id="rId1" Type="http://schemas.openxmlformats.org/officeDocument/2006/relationships/themeOverride" Target="../theme/themeOverride14.xml"/></Relationships>
</file>

<file path=ppt/charts/_rels/chart15.xml.rels><?xml version="1.0" encoding="UTF-8" standalone="yes"?>
<Relationships xmlns="http://schemas.openxmlformats.org/package/2006/relationships"><Relationship Id="rId2" Type="http://schemas.openxmlformats.org/officeDocument/2006/relationships/oleObject" Target="file:///C:\Users\Ali%20&#199;ufadar\Documents\rusya_toplant&#305;s&#305;.xlsx" TargetMode="External"/><Relationship Id="rId1" Type="http://schemas.openxmlformats.org/officeDocument/2006/relationships/themeOverride" Target="../theme/themeOverride15.xml"/></Relationships>
</file>

<file path=ppt/charts/_rels/chart16.xml.rels><?xml version="1.0" encoding="UTF-8" standalone="yes"?>
<Relationships xmlns="http://schemas.openxmlformats.org/package/2006/relationships"><Relationship Id="rId2" Type="http://schemas.openxmlformats.org/officeDocument/2006/relationships/oleObject" Target="file:///C:\Users\Ali%20&#199;ufadar\Documents\tcmb_bilan&#231;o_y&#305;ll&#305;k.xls" TargetMode="External"/><Relationship Id="rId1" Type="http://schemas.openxmlformats.org/officeDocument/2006/relationships/themeOverride" Target="../theme/themeOverride16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chartUserShapes" Target="../drawings/drawing1.xml"/><Relationship Id="rId2" Type="http://schemas.openxmlformats.org/officeDocument/2006/relationships/oleObject" Target="file:///C:\Users\Ali%20&#199;ufadar\Documents\rusya_toplant&#305;s&#305;.xlsx" TargetMode="External"/><Relationship Id="rId1" Type="http://schemas.openxmlformats.org/officeDocument/2006/relationships/themeOverride" Target="../theme/themeOverride2.xml"/></Relationships>
</file>

<file path=ppt/charts/_rels/chart3.xml.rels><?xml version="1.0" encoding="UTF-8" standalone="yes"?>
<Relationships xmlns="http://schemas.openxmlformats.org/package/2006/relationships"><Relationship Id="rId2" Type="http://schemas.openxmlformats.org/officeDocument/2006/relationships/oleObject" Target="file:///C:\Users\Ali%20&#199;ufadar\Documents\rusya_toplant&#305;s&#305;.xlsx" TargetMode="External"/><Relationship Id="rId1" Type="http://schemas.openxmlformats.org/officeDocument/2006/relationships/themeOverride" Target="../theme/themeOverride3.xml"/></Relationships>
</file>

<file path=ppt/charts/_rels/chart4.xml.rels><?xml version="1.0" encoding="UTF-8" standalone="yes"?>
<Relationships xmlns="http://schemas.openxmlformats.org/package/2006/relationships"><Relationship Id="rId2" Type="http://schemas.openxmlformats.org/officeDocument/2006/relationships/oleObject" Target="file:///C:\Users\Ali%20&#199;ufadar\Documents\rusya_toplant&#305;s&#305;.xlsx" TargetMode="External"/><Relationship Id="rId1" Type="http://schemas.openxmlformats.org/officeDocument/2006/relationships/themeOverride" Target="../theme/themeOverrid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chartUserShapes" Target="../drawings/drawing2.xml"/><Relationship Id="rId2" Type="http://schemas.openxmlformats.org/officeDocument/2006/relationships/oleObject" Target="file:///C:\Users\Ali%20&#199;ufadar\Documents\rusya_toplant&#305;s&#305;.xlsx" TargetMode="External"/><Relationship Id="rId1" Type="http://schemas.openxmlformats.org/officeDocument/2006/relationships/themeOverride" Target="../theme/themeOverride5.xml"/></Relationships>
</file>

<file path=ppt/charts/_rels/chart6.xml.rels><?xml version="1.0" encoding="UTF-8" standalone="yes"?>
<Relationships xmlns="http://schemas.openxmlformats.org/package/2006/relationships"><Relationship Id="rId2" Type="http://schemas.openxmlformats.org/officeDocument/2006/relationships/oleObject" Target="file:///C:\Users\Ali%20&#199;ufadar\Documents\rusya_toplant&#305;s&#305;.xlsx" TargetMode="External"/><Relationship Id="rId1" Type="http://schemas.openxmlformats.org/officeDocument/2006/relationships/themeOverride" Target="../theme/themeOverride6.xml"/></Relationships>
</file>

<file path=ppt/charts/_rels/chart7.xml.rels><?xml version="1.0" encoding="UTF-8" standalone="yes"?>
<Relationships xmlns="http://schemas.openxmlformats.org/package/2006/relationships"><Relationship Id="rId2" Type="http://schemas.openxmlformats.org/officeDocument/2006/relationships/oleObject" Target="file:///C:\Users\Ali%20&#199;ufadar\Documents\rusya_toplant&#305;s&#305;.xlsx" TargetMode="External"/><Relationship Id="rId1" Type="http://schemas.openxmlformats.org/officeDocument/2006/relationships/themeOverride" Target="../theme/themeOverrid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8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oleObject" Target="file:///C:\Users\Ali%20&#199;ufadar\Documents\rusya_toplant&#305;s&#305;.xlsx" TargetMode="External"/></Relationships>
</file>

<file path=ppt/charts/_rels/chart9.xml.rels><?xml version="1.0" encoding="UTF-8" standalone="yes"?>
<Relationships xmlns="http://schemas.openxmlformats.org/package/2006/relationships"><Relationship Id="rId2" Type="http://schemas.openxmlformats.org/officeDocument/2006/relationships/oleObject" Target="file:///C:\Users\Ali%20&#199;ufadar\Documents\rusya_toplant&#305;s&#305;.xlsx" TargetMode="External"/><Relationship Id="rId1" Type="http://schemas.openxmlformats.org/officeDocument/2006/relationships/themeOverride" Target="../theme/themeOverrid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6.2085272690558878E-2"/>
          <c:y val="0.11249221441912249"/>
          <c:w val="0.92299341418824665"/>
          <c:h val="0.78010840249155067"/>
        </c:manualLayout>
      </c:layout>
      <c:barChart>
        <c:barDir val="col"/>
        <c:grouping val="clustered"/>
        <c:varyColors val="0"/>
        <c:ser>
          <c:idx val="2"/>
          <c:order val="0"/>
          <c:tx>
            <c:strRef>
              <c:f>growth!$B$2</c:f>
              <c:strCache>
                <c:ptCount val="1"/>
                <c:pt idx="0">
                  <c:v>World</c:v>
                </c:pt>
              </c:strCache>
            </c:strRef>
          </c:tx>
          <c:spPr>
            <a:solidFill>
              <a:schemeClr val="bg2">
                <a:lumMod val="75000"/>
              </a:schemeClr>
            </a:solidFill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growth!$A$57:$A$61</c:f>
              <c:strCache>
                <c:ptCount val="5"/>
                <c:pt idx="0">
                  <c:v>1990s</c:v>
                </c:pt>
                <c:pt idx="1">
                  <c:v>2000s</c:v>
                </c:pt>
                <c:pt idx="2">
                  <c:v>2010s</c:v>
                </c:pt>
                <c:pt idx="3">
                  <c:v>2020-23</c:v>
                </c:pt>
                <c:pt idx="4">
                  <c:v>2024-28</c:v>
                </c:pt>
              </c:strCache>
            </c:strRef>
          </c:cat>
          <c:val>
            <c:numRef>
              <c:f>growth!$B$57:$B$61</c:f>
              <c:numCache>
                <c:formatCode>0.0</c:formatCode>
                <c:ptCount val="5"/>
                <c:pt idx="0">
                  <c:v>3.1225000000000001</c:v>
                </c:pt>
                <c:pt idx="1">
                  <c:v>3.8592</c:v>
                </c:pt>
                <c:pt idx="2">
                  <c:v>3.7015000000000002</c:v>
                </c:pt>
                <c:pt idx="3">
                  <c:v>2.4950000000000001</c:v>
                </c:pt>
                <c:pt idx="4">
                  <c:v>3.1097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45F-477F-8E29-8DFF1D647936}"/>
            </c:ext>
          </c:extLst>
        </c:ser>
        <c:ser>
          <c:idx val="3"/>
          <c:order val="1"/>
          <c:tx>
            <c:strRef>
              <c:f>growth!$F$2</c:f>
              <c:strCache>
                <c:ptCount val="1"/>
                <c:pt idx="0">
                  <c:v>G7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growth!$A$57:$A$61</c:f>
              <c:strCache>
                <c:ptCount val="5"/>
                <c:pt idx="0">
                  <c:v>1990s</c:v>
                </c:pt>
                <c:pt idx="1">
                  <c:v>2000s</c:v>
                </c:pt>
                <c:pt idx="2">
                  <c:v>2010s</c:v>
                </c:pt>
                <c:pt idx="3">
                  <c:v>2020-23</c:v>
                </c:pt>
                <c:pt idx="4">
                  <c:v>2024-28</c:v>
                </c:pt>
              </c:strCache>
            </c:strRef>
          </c:cat>
          <c:val>
            <c:numRef>
              <c:f>growth!$F$57:$F$61</c:f>
              <c:numCache>
                <c:formatCode>0.0</c:formatCode>
                <c:ptCount val="5"/>
                <c:pt idx="0">
                  <c:v>2.5805000000000002</c:v>
                </c:pt>
                <c:pt idx="1">
                  <c:v>1.4296000000000002</c:v>
                </c:pt>
                <c:pt idx="2">
                  <c:v>1.8742000000000001</c:v>
                </c:pt>
                <c:pt idx="3">
                  <c:v>1.3932222222222224</c:v>
                </c:pt>
                <c:pt idx="4">
                  <c:v>1.592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45F-477F-8E29-8DFF1D647936}"/>
            </c:ext>
          </c:extLst>
        </c:ser>
        <c:ser>
          <c:idx val="0"/>
          <c:order val="2"/>
          <c:tx>
            <c:strRef>
              <c:f>growth!$J$2</c:f>
              <c:strCache>
                <c:ptCount val="1"/>
                <c:pt idx="0">
                  <c:v>Emerg. Mark. and dev. econ.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growth!$A$57:$A$61</c:f>
              <c:strCache>
                <c:ptCount val="5"/>
                <c:pt idx="0">
                  <c:v>1990s</c:v>
                </c:pt>
                <c:pt idx="1">
                  <c:v>2000s</c:v>
                </c:pt>
                <c:pt idx="2">
                  <c:v>2010s</c:v>
                </c:pt>
                <c:pt idx="3">
                  <c:v>2020-23</c:v>
                </c:pt>
                <c:pt idx="4">
                  <c:v>2024-28</c:v>
                </c:pt>
              </c:strCache>
            </c:strRef>
          </c:cat>
          <c:val>
            <c:numRef>
              <c:f>growth!$J$57:$J$61</c:f>
              <c:numCache>
                <c:formatCode>0.0</c:formatCode>
                <c:ptCount val="5"/>
                <c:pt idx="0">
                  <c:v>3.5088750000000002</c:v>
                </c:pt>
                <c:pt idx="1">
                  <c:v>6.0350999999999999</c:v>
                </c:pt>
                <c:pt idx="2">
                  <c:v>5.0515999999999996</c:v>
                </c:pt>
                <c:pt idx="3">
                  <c:v>3.6903333333333332</c:v>
                </c:pt>
                <c:pt idx="4">
                  <c:v>4.011799999999999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245F-477F-8E29-8DFF1D64793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346339887"/>
        <c:axId val="1448222335"/>
      </c:barChart>
      <c:catAx>
        <c:axId val="346339887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/>
            </a:pPr>
            <a:endParaRPr lang="en-US"/>
          </a:p>
        </c:txPr>
        <c:crossAx val="1448222335"/>
        <c:crosses val="autoZero"/>
        <c:auto val="1"/>
        <c:lblAlgn val="ctr"/>
        <c:lblOffset val="100"/>
        <c:noMultiLvlLbl val="0"/>
      </c:catAx>
      <c:valAx>
        <c:axId val="1448222335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" sourceLinked="0"/>
        <c:majorTickMark val="out"/>
        <c:minorTickMark val="none"/>
        <c:tickLblPos val="nextTo"/>
        <c:spPr>
          <a:noFill/>
          <a:ln>
            <a:solidFill>
              <a:srgbClr val="002060"/>
            </a:solidFill>
          </a:ln>
          <a:effectLst/>
        </c:spPr>
        <c:txPr>
          <a:bodyPr rot="-60000000" vert="horz"/>
          <a:lstStyle/>
          <a:p>
            <a:pPr>
              <a:defRPr sz="1800"/>
            </a:pPr>
            <a:endParaRPr lang="en-US"/>
          </a:p>
        </c:txPr>
        <c:crossAx val="346339887"/>
        <c:crosses val="autoZero"/>
        <c:crossBetween val="between"/>
      </c:valAx>
    </c:plotArea>
    <c:legend>
      <c:legendPos val="t"/>
      <c:layout>
        <c:manualLayout>
          <c:xMode val="edge"/>
          <c:yMode val="edge"/>
          <c:x val="8.215639711702704E-3"/>
          <c:y val="1.8935185185185201E-2"/>
          <c:w val="0.97148775153105837"/>
          <c:h val="7.3080996010237598E-2"/>
        </c:manualLayout>
      </c:layout>
      <c:overlay val="0"/>
      <c:txPr>
        <a:bodyPr/>
        <a:lstStyle/>
        <a:p>
          <a:pPr>
            <a:defRPr sz="2000"/>
          </a:pPr>
          <a:endParaRPr lang="en-US"/>
        </a:p>
      </c:txPr>
    </c:legend>
    <c:plotVisOnly val="1"/>
    <c:dispBlanksAs val="gap"/>
    <c:showDLblsOverMax val="0"/>
    <c:extLst/>
  </c:chart>
  <c:spPr>
    <a:ln>
      <a:solidFill>
        <a:srgbClr val="000000"/>
      </a:solidFill>
    </a:ln>
  </c:spPr>
  <c:txPr>
    <a:bodyPr/>
    <a:lstStyle/>
    <a:p>
      <a:pPr>
        <a:defRPr sz="1600" b="1">
          <a:solidFill>
            <a:schemeClr val="tx1"/>
          </a:solidFill>
        </a:defRPr>
      </a:pPr>
      <a:endParaRPr lang="en-US"/>
    </a:p>
  </c:txPr>
  <c:externalData r:id="rId2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6.6983794994375706E-2"/>
          <c:y val="0.10986524072550632"/>
          <c:w val="0.90078907128796404"/>
          <c:h val="0.76883926822580018"/>
        </c:manualLayout>
      </c:layout>
      <c:lineChart>
        <c:grouping val="standard"/>
        <c:varyColors val="0"/>
        <c:ser>
          <c:idx val="1"/>
          <c:order val="0"/>
          <c:tx>
            <c:strRef>
              <c:f>intrate!$AK$1</c:f>
              <c:strCache>
                <c:ptCount val="1"/>
                <c:pt idx="0">
                  <c:v>FED rate</c:v>
                </c:pt>
              </c:strCache>
            </c:strRef>
          </c:tx>
          <c:spPr>
            <a:ln w="44450"/>
          </c:spPr>
          <c:marker>
            <c:symbol val="none"/>
          </c:marker>
          <c:cat>
            <c:strRef>
              <c:f>intrate!$A$62:$A$527</c:f>
              <c:strCache>
                <c:ptCount val="466"/>
                <c:pt idx="0">
                  <c:v>1985-01-31</c:v>
                </c:pt>
                <c:pt idx="1">
                  <c:v>1985-02-28</c:v>
                </c:pt>
                <c:pt idx="2">
                  <c:v>1985-03-31</c:v>
                </c:pt>
                <c:pt idx="3">
                  <c:v>1985-04-30</c:v>
                </c:pt>
                <c:pt idx="4">
                  <c:v>1985-05-31</c:v>
                </c:pt>
                <c:pt idx="5">
                  <c:v>1985-06-30</c:v>
                </c:pt>
                <c:pt idx="6">
                  <c:v>1985-07-31</c:v>
                </c:pt>
                <c:pt idx="7">
                  <c:v>1985-08-31</c:v>
                </c:pt>
                <c:pt idx="8">
                  <c:v>1985-09-30</c:v>
                </c:pt>
                <c:pt idx="9">
                  <c:v>1985-10-31</c:v>
                </c:pt>
                <c:pt idx="10">
                  <c:v>1985-11-30</c:v>
                </c:pt>
                <c:pt idx="11">
                  <c:v>1985-12-31</c:v>
                </c:pt>
                <c:pt idx="12">
                  <c:v>1986-01-31</c:v>
                </c:pt>
                <c:pt idx="13">
                  <c:v>1986-02-28</c:v>
                </c:pt>
                <c:pt idx="14">
                  <c:v>1986-03-31</c:v>
                </c:pt>
                <c:pt idx="15">
                  <c:v>1986-04-30</c:v>
                </c:pt>
                <c:pt idx="16">
                  <c:v>1986-05-31</c:v>
                </c:pt>
                <c:pt idx="17">
                  <c:v>1986-06-30</c:v>
                </c:pt>
                <c:pt idx="18">
                  <c:v>1986-07-31</c:v>
                </c:pt>
                <c:pt idx="19">
                  <c:v>1986-08-31</c:v>
                </c:pt>
                <c:pt idx="20">
                  <c:v>1986-09-30</c:v>
                </c:pt>
                <c:pt idx="21">
                  <c:v>1986-10-31</c:v>
                </c:pt>
                <c:pt idx="22">
                  <c:v>1986-11-30</c:v>
                </c:pt>
                <c:pt idx="23">
                  <c:v>1986-12-31</c:v>
                </c:pt>
                <c:pt idx="24">
                  <c:v>1987-01-31</c:v>
                </c:pt>
                <c:pt idx="25">
                  <c:v>1987-02-28</c:v>
                </c:pt>
                <c:pt idx="26">
                  <c:v>1987-03-31</c:v>
                </c:pt>
                <c:pt idx="27">
                  <c:v>1987-04-30</c:v>
                </c:pt>
                <c:pt idx="28">
                  <c:v>1987-05-31</c:v>
                </c:pt>
                <c:pt idx="29">
                  <c:v>1987-06-30</c:v>
                </c:pt>
                <c:pt idx="30">
                  <c:v>1987-07-31</c:v>
                </c:pt>
                <c:pt idx="31">
                  <c:v>1987-08-31</c:v>
                </c:pt>
                <c:pt idx="32">
                  <c:v>1987-09-30</c:v>
                </c:pt>
                <c:pt idx="33">
                  <c:v>1987-10-31</c:v>
                </c:pt>
                <c:pt idx="34">
                  <c:v>1987-11-30</c:v>
                </c:pt>
                <c:pt idx="35">
                  <c:v>1987-12-31</c:v>
                </c:pt>
                <c:pt idx="36">
                  <c:v>1988-01-31</c:v>
                </c:pt>
                <c:pt idx="37">
                  <c:v>1988-02-29</c:v>
                </c:pt>
                <c:pt idx="38">
                  <c:v>1988-03-31</c:v>
                </c:pt>
                <c:pt idx="39">
                  <c:v>1988-04-30</c:v>
                </c:pt>
                <c:pt idx="40">
                  <c:v>1988-05-31</c:v>
                </c:pt>
                <c:pt idx="41">
                  <c:v>1988-06-30</c:v>
                </c:pt>
                <c:pt idx="42">
                  <c:v>1988-07-31</c:v>
                </c:pt>
                <c:pt idx="43">
                  <c:v>1988-08-31</c:v>
                </c:pt>
                <c:pt idx="44">
                  <c:v>1988-09-30</c:v>
                </c:pt>
                <c:pt idx="45">
                  <c:v>1988-10-31</c:v>
                </c:pt>
                <c:pt idx="46">
                  <c:v>1988-11-30</c:v>
                </c:pt>
                <c:pt idx="47">
                  <c:v>1988-12-31</c:v>
                </c:pt>
                <c:pt idx="48">
                  <c:v>1989-01-31</c:v>
                </c:pt>
                <c:pt idx="49">
                  <c:v>1989-02-28</c:v>
                </c:pt>
                <c:pt idx="50">
                  <c:v>1989-03-31</c:v>
                </c:pt>
                <c:pt idx="51">
                  <c:v>1989-04-30</c:v>
                </c:pt>
                <c:pt idx="52">
                  <c:v>1989-05-31</c:v>
                </c:pt>
                <c:pt idx="53">
                  <c:v>1989-06-30</c:v>
                </c:pt>
                <c:pt idx="54">
                  <c:v>1989-07-31</c:v>
                </c:pt>
                <c:pt idx="55">
                  <c:v>1989-08-31</c:v>
                </c:pt>
                <c:pt idx="56">
                  <c:v>1989-09-30</c:v>
                </c:pt>
                <c:pt idx="57">
                  <c:v>1989-10-31</c:v>
                </c:pt>
                <c:pt idx="58">
                  <c:v>1989-11-30</c:v>
                </c:pt>
                <c:pt idx="59">
                  <c:v>1989-12-31</c:v>
                </c:pt>
                <c:pt idx="60">
                  <c:v>1990-01-31</c:v>
                </c:pt>
                <c:pt idx="61">
                  <c:v>1990-02-28</c:v>
                </c:pt>
                <c:pt idx="62">
                  <c:v>1990-03-31</c:v>
                </c:pt>
                <c:pt idx="63">
                  <c:v>1990-04-30</c:v>
                </c:pt>
                <c:pt idx="64">
                  <c:v>1990-05-31</c:v>
                </c:pt>
                <c:pt idx="65">
                  <c:v>1990-06-30</c:v>
                </c:pt>
                <c:pt idx="66">
                  <c:v>1990-07-31</c:v>
                </c:pt>
                <c:pt idx="67">
                  <c:v>1990-08-31</c:v>
                </c:pt>
                <c:pt idx="68">
                  <c:v>1990-09-30</c:v>
                </c:pt>
                <c:pt idx="69">
                  <c:v>1990-10-31</c:v>
                </c:pt>
                <c:pt idx="70">
                  <c:v>1990-11-30</c:v>
                </c:pt>
                <c:pt idx="71">
                  <c:v>1990-12-31</c:v>
                </c:pt>
                <c:pt idx="72">
                  <c:v>1991-01-31</c:v>
                </c:pt>
                <c:pt idx="73">
                  <c:v>1991-02-28</c:v>
                </c:pt>
                <c:pt idx="74">
                  <c:v>1991-03-31</c:v>
                </c:pt>
                <c:pt idx="75">
                  <c:v>1991-04-30</c:v>
                </c:pt>
                <c:pt idx="76">
                  <c:v>1991-05-31</c:v>
                </c:pt>
                <c:pt idx="77">
                  <c:v>1991-06-30</c:v>
                </c:pt>
                <c:pt idx="78">
                  <c:v>1991-07-31</c:v>
                </c:pt>
                <c:pt idx="79">
                  <c:v>1991-08-31</c:v>
                </c:pt>
                <c:pt idx="80">
                  <c:v>1991-09-30</c:v>
                </c:pt>
                <c:pt idx="81">
                  <c:v>1991-10-31</c:v>
                </c:pt>
                <c:pt idx="82">
                  <c:v>1991-11-30</c:v>
                </c:pt>
                <c:pt idx="83">
                  <c:v>1991-12-31</c:v>
                </c:pt>
                <c:pt idx="84">
                  <c:v>1992-01-31</c:v>
                </c:pt>
                <c:pt idx="85">
                  <c:v>1992-02-29</c:v>
                </c:pt>
                <c:pt idx="86">
                  <c:v>1992-03-31</c:v>
                </c:pt>
                <c:pt idx="87">
                  <c:v>1992-04-30</c:v>
                </c:pt>
                <c:pt idx="88">
                  <c:v>1992-05-31</c:v>
                </c:pt>
                <c:pt idx="89">
                  <c:v>1992-06-30</c:v>
                </c:pt>
                <c:pt idx="90">
                  <c:v>1992-07-31</c:v>
                </c:pt>
                <c:pt idx="91">
                  <c:v>1992-08-31</c:v>
                </c:pt>
                <c:pt idx="92">
                  <c:v>1992-09-30</c:v>
                </c:pt>
                <c:pt idx="93">
                  <c:v>1992-10-31</c:v>
                </c:pt>
                <c:pt idx="94">
                  <c:v>1992-11-30</c:v>
                </c:pt>
                <c:pt idx="95">
                  <c:v>1992-12-31</c:v>
                </c:pt>
                <c:pt idx="96">
                  <c:v>1993-01-31</c:v>
                </c:pt>
                <c:pt idx="97">
                  <c:v>1993-02-28</c:v>
                </c:pt>
                <c:pt idx="98">
                  <c:v>1993-03-31</c:v>
                </c:pt>
                <c:pt idx="99">
                  <c:v>1993-04-30</c:v>
                </c:pt>
                <c:pt idx="100">
                  <c:v>1993-05-31</c:v>
                </c:pt>
                <c:pt idx="101">
                  <c:v>1993-06-30</c:v>
                </c:pt>
                <c:pt idx="102">
                  <c:v>1993-07-31</c:v>
                </c:pt>
                <c:pt idx="103">
                  <c:v>1993-08-31</c:v>
                </c:pt>
                <c:pt idx="104">
                  <c:v>1993-09-30</c:v>
                </c:pt>
                <c:pt idx="105">
                  <c:v>1993-10-31</c:v>
                </c:pt>
                <c:pt idx="106">
                  <c:v>1993-11-30</c:v>
                </c:pt>
                <c:pt idx="107">
                  <c:v>1993-12-31</c:v>
                </c:pt>
                <c:pt idx="108">
                  <c:v>1994-01-31</c:v>
                </c:pt>
                <c:pt idx="109">
                  <c:v>1994-02-28</c:v>
                </c:pt>
                <c:pt idx="110">
                  <c:v>1994-03-31</c:v>
                </c:pt>
                <c:pt idx="111">
                  <c:v>1994-04-30</c:v>
                </c:pt>
                <c:pt idx="112">
                  <c:v>1994-05-31</c:v>
                </c:pt>
                <c:pt idx="113">
                  <c:v>1994-06-30</c:v>
                </c:pt>
                <c:pt idx="114">
                  <c:v>1994-07-31</c:v>
                </c:pt>
                <c:pt idx="115">
                  <c:v>1994-08-31</c:v>
                </c:pt>
                <c:pt idx="116">
                  <c:v>1994-09-30</c:v>
                </c:pt>
                <c:pt idx="117">
                  <c:v>1994-10-31</c:v>
                </c:pt>
                <c:pt idx="118">
                  <c:v>1994-11-30</c:v>
                </c:pt>
                <c:pt idx="119">
                  <c:v>1994-12-31</c:v>
                </c:pt>
                <c:pt idx="120">
                  <c:v>1995-01-31</c:v>
                </c:pt>
                <c:pt idx="121">
                  <c:v>1995-02-28</c:v>
                </c:pt>
                <c:pt idx="122">
                  <c:v>1995-03-31</c:v>
                </c:pt>
                <c:pt idx="123">
                  <c:v>1995-04-30</c:v>
                </c:pt>
                <c:pt idx="124">
                  <c:v>1995-05-31</c:v>
                </c:pt>
                <c:pt idx="125">
                  <c:v>1995-06-30</c:v>
                </c:pt>
                <c:pt idx="126">
                  <c:v>1995-07-31</c:v>
                </c:pt>
                <c:pt idx="127">
                  <c:v>1995-08-31</c:v>
                </c:pt>
                <c:pt idx="128">
                  <c:v>1995-09-30</c:v>
                </c:pt>
                <c:pt idx="129">
                  <c:v>1995-10-31</c:v>
                </c:pt>
                <c:pt idx="130">
                  <c:v>1995-11-30</c:v>
                </c:pt>
                <c:pt idx="131">
                  <c:v>1995-12-31</c:v>
                </c:pt>
                <c:pt idx="132">
                  <c:v>1996-01-31</c:v>
                </c:pt>
                <c:pt idx="133">
                  <c:v>1996-02-29</c:v>
                </c:pt>
                <c:pt idx="134">
                  <c:v>1996-03-31</c:v>
                </c:pt>
                <c:pt idx="135">
                  <c:v>1996-04-30</c:v>
                </c:pt>
                <c:pt idx="136">
                  <c:v>1996-05-31</c:v>
                </c:pt>
                <c:pt idx="137">
                  <c:v>1996-06-30</c:v>
                </c:pt>
                <c:pt idx="138">
                  <c:v>1996-07-31</c:v>
                </c:pt>
                <c:pt idx="139">
                  <c:v>1996-08-31</c:v>
                </c:pt>
                <c:pt idx="140">
                  <c:v>1996-09-30</c:v>
                </c:pt>
                <c:pt idx="141">
                  <c:v>1996-10-31</c:v>
                </c:pt>
                <c:pt idx="142">
                  <c:v>1996-11-30</c:v>
                </c:pt>
                <c:pt idx="143">
                  <c:v>1996-12-31</c:v>
                </c:pt>
                <c:pt idx="144">
                  <c:v>1997-01-31</c:v>
                </c:pt>
                <c:pt idx="145">
                  <c:v>1997-02-28</c:v>
                </c:pt>
                <c:pt idx="146">
                  <c:v>1997-03-31</c:v>
                </c:pt>
                <c:pt idx="147">
                  <c:v>1997-04-30</c:v>
                </c:pt>
                <c:pt idx="148">
                  <c:v>1997-05-31</c:v>
                </c:pt>
                <c:pt idx="149">
                  <c:v>1997-06-30</c:v>
                </c:pt>
                <c:pt idx="150">
                  <c:v>1997-07-31</c:v>
                </c:pt>
                <c:pt idx="151">
                  <c:v>1997-08-31</c:v>
                </c:pt>
                <c:pt idx="152">
                  <c:v>1997-09-30</c:v>
                </c:pt>
                <c:pt idx="153">
                  <c:v>1997-10-31</c:v>
                </c:pt>
                <c:pt idx="154">
                  <c:v>1997-11-30</c:v>
                </c:pt>
                <c:pt idx="155">
                  <c:v>1997-12-31</c:v>
                </c:pt>
                <c:pt idx="156">
                  <c:v>1998-01-31</c:v>
                </c:pt>
                <c:pt idx="157">
                  <c:v>1998-02-28</c:v>
                </c:pt>
                <c:pt idx="158">
                  <c:v>1998-03-31</c:v>
                </c:pt>
                <c:pt idx="159">
                  <c:v>1998-04-30</c:v>
                </c:pt>
                <c:pt idx="160">
                  <c:v>1998-05-31</c:v>
                </c:pt>
                <c:pt idx="161">
                  <c:v>1998-06-30</c:v>
                </c:pt>
                <c:pt idx="162">
                  <c:v>1998-07-31</c:v>
                </c:pt>
                <c:pt idx="163">
                  <c:v>1998-08-31</c:v>
                </c:pt>
                <c:pt idx="164">
                  <c:v>1998-09-30</c:v>
                </c:pt>
                <c:pt idx="165">
                  <c:v>1998-10-31</c:v>
                </c:pt>
                <c:pt idx="166">
                  <c:v>1998-11-30</c:v>
                </c:pt>
                <c:pt idx="167">
                  <c:v>1998-12-31</c:v>
                </c:pt>
                <c:pt idx="168">
                  <c:v>1999-01-31</c:v>
                </c:pt>
                <c:pt idx="169">
                  <c:v>1999-02-28</c:v>
                </c:pt>
                <c:pt idx="170">
                  <c:v>1999-03-31</c:v>
                </c:pt>
                <c:pt idx="171">
                  <c:v>1999-04-30</c:v>
                </c:pt>
                <c:pt idx="172">
                  <c:v>1999-05-31</c:v>
                </c:pt>
                <c:pt idx="173">
                  <c:v>1999-06-30</c:v>
                </c:pt>
                <c:pt idx="174">
                  <c:v>1999-07-31</c:v>
                </c:pt>
                <c:pt idx="175">
                  <c:v>1999-08-31</c:v>
                </c:pt>
                <c:pt idx="176">
                  <c:v>1999-09-30</c:v>
                </c:pt>
                <c:pt idx="177">
                  <c:v>1999-10-31</c:v>
                </c:pt>
                <c:pt idx="178">
                  <c:v>1999-11-30</c:v>
                </c:pt>
                <c:pt idx="179">
                  <c:v>1999-12-31</c:v>
                </c:pt>
                <c:pt idx="180">
                  <c:v>2000-01-31</c:v>
                </c:pt>
                <c:pt idx="181">
                  <c:v>2000-02-29</c:v>
                </c:pt>
                <c:pt idx="182">
                  <c:v>2000-03-31</c:v>
                </c:pt>
                <c:pt idx="183">
                  <c:v>2000-04-30</c:v>
                </c:pt>
                <c:pt idx="184">
                  <c:v>2000-05-31</c:v>
                </c:pt>
                <c:pt idx="185">
                  <c:v>2000-06-30</c:v>
                </c:pt>
                <c:pt idx="186">
                  <c:v>2000-07-31</c:v>
                </c:pt>
                <c:pt idx="187">
                  <c:v>2000-08-31</c:v>
                </c:pt>
                <c:pt idx="188">
                  <c:v>2000-09-30</c:v>
                </c:pt>
                <c:pt idx="189">
                  <c:v>2000-10-31</c:v>
                </c:pt>
                <c:pt idx="190">
                  <c:v>2000-11-30</c:v>
                </c:pt>
                <c:pt idx="191">
                  <c:v>2000-12-31</c:v>
                </c:pt>
                <c:pt idx="192">
                  <c:v>2001-01-31</c:v>
                </c:pt>
                <c:pt idx="193">
                  <c:v>2001-02-28</c:v>
                </c:pt>
                <c:pt idx="194">
                  <c:v>2001-03-31</c:v>
                </c:pt>
                <c:pt idx="195">
                  <c:v>2001-04-30</c:v>
                </c:pt>
                <c:pt idx="196">
                  <c:v>2001-05-31</c:v>
                </c:pt>
                <c:pt idx="197">
                  <c:v>2001-06-30</c:v>
                </c:pt>
                <c:pt idx="198">
                  <c:v>2001-07-31</c:v>
                </c:pt>
                <c:pt idx="199">
                  <c:v>2001-08-31</c:v>
                </c:pt>
                <c:pt idx="200">
                  <c:v>2001-09-30</c:v>
                </c:pt>
                <c:pt idx="201">
                  <c:v>2001-10-31</c:v>
                </c:pt>
                <c:pt idx="202">
                  <c:v>2001-11-30</c:v>
                </c:pt>
                <c:pt idx="203">
                  <c:v>2001-12-31</c:v>
                </c:pt>
                <c:pt idx="204">
                  <c:v>2002-01-31</c:v>
                </c:pt>
                <c:pt idx="205">
                  <c:v>2002-02-28</c:v>
                </c:pt>
                <c:pt idx="206">
                  <c:v>2002-03-31</c:v>
                </c:pt>
                <c:pt idx="207">
                  <c:v>2002-04-30</c:v>
                </c:pt>
                <c:pt idx="208">
                  <c:v>2002-05-31</c:v>
                </c:pt>
                <c:pt idx="209">
                  <c:v>2002-06-30</c:v>
                </c:pt>
                <c:pt idx="210">
                  <c:v>2002-07-31</c:v>
                </c:pt>
                <c:pt idx="211">
                  <c:v>2002-08-31</c:v>
                </c:pt>
                <c:pt idx="212">
                  <c:v>2002-09-30</c:v>
                </c:pt>
                <c:pt idx="213">
                  <c:v>2002-10-31</c:v>
                </c:pt>
                <c:pt idx="214">
                  <c:v>2002-11-30</c:v>
                </c:pt>
                <c:pt idx="215">
                  <c:v>2002-12-31</c:v>
                </c:pt>
                <c:pt idx="216">
                  <c:v>2003-01-31</c:v>
                </c:pt>
                <c:pt idx="217">
                  <c:v>2003-02-28</c:v>
                </c:pt>
                <c:pt idx="218">
                  <c:v>2003-03-31</c:v>
                </c:pt>
                <c:pt idx="219">
                  <c:v>2003-04-30</c:v>
                </c:pt>
                <c:pt idx="220">
                  <c:v>2003-05-31</c:v>
                </c:pt>
                <c:pt idx="221">
                  <c:v>2003-06-30</c:v>
                </c:pt>
                <c:pt idx="222">
                  <c:v>2003-07-31</c:v>
                </c:pt>
                <c:pt idx="223">
                  <c:v>2003-08-31</c:v>
                </c:pt>
                <c:pt idx="224">
                  <c:v>2003-09-30</c:v>
                </c:pt>
                <c:pt idx="225">
                  <c:v>2003-10-31</c:v>
                </c:pt>
                <c:pt idx="226">
                  <c:v>2003-11-30</c:v>
                </c:pt>
                <c:pt idx="227">
                  <c:v>2003-12-31</c:v>
                </c:pt>
                <c:pt idx="228">
                  <c:v>2004-01-31</c:v>
                </c:pt>
                <c:pt idx="229">
                  <c:v>2004-02-29</c:v>
                </c:pt>
                <c:pt idx="230">
                  <c:v>2004-03-31</c:v>
                </c:pt>
                <c:pt idx="231">
                  <c:v>2004-04-30</c:v>
                </c:pt>
                <c:pt idx="232">
                  <c:v>2004-05-31</c:v>
                </c:pt>
                <c:pt idx="233">
                  <c:v>2004-06-30</c:v>
                </c:pt>
                <c:pt idx="234">
                  <c:v>2004-07-31</c:v>
                </c:pt>
                <c:pt idx="235">
                  <c:v>2004-08-31</c:v>
                </c:pt>
                <c:pt idx="236">
                  <c:v>2004-09-30</c:v>
                </c:pt>
                <c:pt idx="237">
                  <c:v>2004-10-31</c:v>
                </c:pt>
                <c:pt idx="238">
                  <c:v>2004-11-30</c:v>
                </c:pt>
                <c:pt idx="239">
                  <c:v>2004-12-31</c:v>
                </c:pt>
                <c:pt idx="240">
                  <c:v>2005-01-31</c:v>
                </c:pt>
                <c:pt idx="241">
                  <c:v>2005-02-28</c:v>
                </c:pt>
                <c:pt idx="242">
                  <c:v>2005-03-31</c:v>
                </c:pt>
                <c:pt idx="243">
                  <c:v>2005-04-30</c:v>
                </c:pt>
                <c:pt idx="244">
                  <c:v>2005-05-31</c:v>
                </c:pt>
                <c:pt idx="245">
                  <c:v>2005-06-30</c:v>
                </c:pt>
                <c:pt idx="246">
                  <c:v>2005-07-31</c:v>
                </c:pt>
                <c:pt idx="247">
                  <c:v>2005-08-31</c:v>
                </c:pt>
                <c:pt idx="248">
                  <c:v>2005-09-30</c:v>
                </c:pt>
                <c:pt idx="249">
                  <c:v>2005-10-31</c:v>
                </c:pt>
                <c:pt idx="250">
                  <c:v>2005-11-30</c:v>
                </c:pt>
                <c:pt idx="251">
                  <c:v>2005-12-31</c:v>
                </c:pt>
                <c:pt idx="252">
                  <c:v>2006-01-31</c:v>
                </c:pt>
                <c:pt idx="253">
                  <c:v>2006-02-28</c:v>
                </c:pt>
                <c:pt idx="254">
                  <c:v>2006-03-31</c:v>
                </c:pt>
                <c:pt idx="255">
                  <c:v>2006-04-30</c:v>
                </c:pt>
                <c:pt idx="256">
                  <c:v>2006-05-31</c:v>
                </c:pt>
                <c:pt idx="257">
                  <c:v>2006-06-30</c:v>
                </c:pt>
                <c:pt idx="258">
                  <c:v>2006-07-31</c:v>
                </c:pt>
                <c:pt idx="259">
                  <c:v>2006-08-31</c:v>
                </c:pt>
                <c:pt idx="260">
                  <c:v>2006-09-30</c:v>
                </c:pt>
                <c:pt idx="261">
                  <c:v>2006-10-31</c:v>
                </c:pt>
                <c:pt idx="262">
                  <c:v>2006-11-30</c:v>
                </c:pt>
                <c:pt idx="263">
                  <c:v>2006-12-31</c:v>
                </c:pt>
                <c:pt idx="264">
                  <c:v>2007-01-31</c:v>
                </c:pt>
                <c:pt idx="265">
                  <c:v>2007-02-28</c:v>
                </c:pt>
                <c:pt idx="266">
                  <c:v>2007-03-31</c:v>
                </c:pt>
                <c:pt idx="267">
                  <c:v>2007-04-30</c:v>
                </c:pt>
                <c:pt idx="268">
                  <c:v>2007-05-31</c:v>
                </c:pt>
                <c:pt idx="269">
                  <c:v>2007-06-30</c:v>
                </c:pt>
                <c:pt idx="270">
                  <c:v>2007-07-31</c:v>
                </c:pt>
                <c:pt idx="271">
                  <c:v>2007-08-31</c:v>
                </c:pt>
                <c:pt idx="272">
                  <c:v>2007-09-30</c:v>
                </c:pt>
                <c:pt idx="273">
                  <c:v>2007-10-31</c:v>
                </c:pt>
                <c:pt idx="274">
                  <c:v>2007-11-30</c:v>
                </c:pt>
                <c:pt idx="275">
                  <c:v>2007-12-31</c:v>
                </c:pt>
                <c:pt idx="276">
                  <c:v>2008-01-31</c:v>
                </c:pt>
                <c:pt idx="277">
                  <c:v>2008-02-29</c:v>
                </c:pt>
                <c:pt idx="278">
                  <c:v>2008-03-31</c:v>
                </c:pt>
                <c:pt idx="279">
                  <c:v>2008-04-30</c:v>
                </c:pt>
                <c:pt idx="280">
                  <c:v>2008-05-31</c:v>
                </c:pt>
                <c:pt idx="281">
                  <c:v>2008-06-30</c:v>
                </c:pt>
                <c:pt idx="282">
                  <c:v>2008-07-31</c:v>
                </c:pt>
                <c:pt idx="283">
                  <c:v>2008-08-31</c:v>
                </c:pt>
                <c:pt idx="284">
                  <c:v>2008-09-30</c:v>
                </c:pt>
                <c:pt idx="285">
                  <c:v>2008-10-31</c:v>
                </c:pt>
                <c:pt idx="286">
                  <c:v>2008-11-30</c:v>
                </c:pt>
                <c:pt idx="287">
                  <c:v>2008-12-31</c:v>
                </c:pt>
                <c:pt idx="288">
                  <c:v>2009-01-31</c:v>
                </c:pt>
                <c:pt idx="289">
                  <c:v>2009-02-28</c:v>
                </c:pt>
                <c:pt idx="290">
                  <c:v>2009-03-31</c:v>
                </c:pt>
                <c:pt idx="291">
                  <c:v>2009-04-30</c:v>
                </c:pt>
                <c:pt idx="292">
                  <c:v>2009-05-31</c:v>
                </c:pt>
                <c:pt idx="293">
                  <c:v>2009-06-30</c:v>
                </c:pt>
                <c:pt idx="294">
                  <c:v>2009-07-31</c:v>
                </c:pt>
                <c:pt idx="295">
                  <c:v>2009-08-31</c:v>
                </c:pt>
                <c:pt idx="296">
                  <c:v>2009-09-30</c:v>
                </c:pt>
                <c:pt idx="297">
                  <c:v>2009-10-31</c:v>
                </c:pt>
                <c:pt idx="298">
                  <c:v>2009-11-30</c:v>
                </c:pt>
                <c:pt idx="299">
                  <c:v>2009-12-31</c:v>
                </c:pt>
                <c:pt idx="300">
                  <c:v>2010-01-31</c:v>
                </c:pt>
                <c:pt idx="301">
                  <c:v>2010-02-28</c:v>
                </c:pt>
                <c:pt idx="302">
                  <c:v>2010-03-31</c:v>
                </c:pt>
                <c:pt idx="303">
                  <c:v>2010-04-30</c:v>
                </c:pt>
                <c:pt idx="304">
                  <c:v>2010-05-31</c:v>
                </c:pt>
                <c:pt idx="305">
                  <c:v>2010-06-30</c:v>
                </c:pt>
                <c:pt idx="306">
                  <c:v>2010-07-31</c:v>
                </c:pt>
                <c:pt idx="307">
                  <c:v>2010-08-31</c:v>
                </c:pt>
                <c:pt idx="308">
                  <c:v>2010-09-30</c:v>
                </c:pt>
                <c:pt idx="309">
                  <c:v>2010-10-31</c:v>
                </c:pt>
                <c:pt idx="310">
                  <c:v>2010-11-30</c:v>
                </c:pt>
                <c:pt idx="311">
                  <c:v>2010-12-31</c:v>
                </c:pt>
                <c:pt idx="312">
                  <c:v>2011-01-31</c:v>
                </c:pt>
                <c:pt idx="313">
                  <c:v>2011-02-28</c:v>
                </c:pt>
                <c:pt idx="314">
                  <c:v>2011-03-31</c:v>
                </c:pt>
                <c:pt idx="315">
                  <c:v>2011-04-30</c:v>
                </c:pt>
                <c:pt idx="316">
                  <c:v>2011-05-31</c:v>
                </c:pt>
                <c:pt idx="317">
                  <c:v>2011-06-30</c:v>
                </c:pt>
                <c:pt idx="318">
                  <c:v>2011-07-31</c:v>
                </c:pt>
                <c:pt idx="319">
                  <c:v>2011-08-31</c:v>
                </c:pt>
                <c:pt idx="320">
                  <c:v>2011-09-30</c:v>
                </c:pt>
                <c:pt idx="321">
                  <c:v>2011-10-31</c:v>
                </c:pt>
                <c:pt idx="322">
                  <c:v>2011-11-30</c:v>
                </c:pt>
                <c:pt idx="323">
                  <c:v>2011-12-31</c:v>
                </c:pt>
                <c:pt idx="324">
                  <c:v>2012-01-31</c:v>
                </c:pt>
                <c:pt idx="325">
                  <c:v>2012-02-29</c:v>
                </c:pt>
                <c:pt idx="326">
                  <c:v>2012-03-31</c:v>
                </c:pt>
                <c:pt idx="327">
                  <c:v>2012-04-30</c:v>
                </c:pt>
                <c:pt idx="328">
                  <c:v>2012-05-31</c:v>
                </c:pt>
                <c:pt idx="329">
                  <c:v>2012-06-30</c:v>
                </c:pt>
                <c:pt idx="330">
                  <c:v>2012-07-31</c:v>
                </c:pt>
                <c:pt idx="331">
                  <c:v>2012-08-31</c:v>
                </c:pt>
                <c:pt idx="332">
                  <c:v>2012-09-30</c:v>
                </c:pt>
                <c:pt idx="333">
                  <c:v>2012-10-31</c:v>
                </c:pt>
                <c:pt idx="334">
                  <c:v>2012-11-30</c:v>
                </c:pt>
                <c:pt idx="335">
                  <c:v>2012-12-31</c:v>
                </c:pt>
                <c:pt idx="336">
                  <c:v>2013-01-31</c:v>
                </c:pt>
                <c:pt idx="337">
                  <c:v>2013-02-28</c:v>
                </c:pt>
                <c:pt idx="338">
                  <c:v>2013-03-31</c:v>
                </c:pt>
                <c:pt idx="339">
                  <c:v>2013-04-30</c:v>
                </c:pt>
                <c:pt idx="340">
                  <c:v>2013-05-31</c:v>
                </c:pt>
                <c:pt idx="341">
                  <c:v>2013-06-30</c:v>
                </c:pt>
                <c:pt idx="342">
                  <c:v>2013-07-31</c:v>
                </c:pt>
                <c:pt idx="343">
                  <c:v>2013-08-31</c:v>
                </c:pt>
                <c:pt idx="344">
                  <c:v>2013-09-30</c:v>
                </c:pt>
                <c:pt idx="345">
                  <c:v>2013-10-31</c:v>
                </c:pt>
                <c:pt idx="346">
                  <c:v>2013-11-30</c:v>
                </c:pt>
                <c:pt idx="347">
                  <c:v>2013-12-31</c:v>
                </c:pt>
                <c:pt idx="348">
                  <c:v>2014-01-31</c:v>
                </c:pt>
                <c:pt idx="349">
                  <c:v>2014-02-28</c:v>
                </c:pt>
                <c:pt idx="350">
                  <c:v>2014-03-31</c:v>
                </c:pt>
                <c:pt idx="351">
                  <c:v>2014-04-30</c:v>
                </c:pt>
                <c:pt idx="352">
                  <c:v>2014-05-31</c:v>
                </c:pt>
                <c:pt idx="353">
                  <c:v>2014-06-30</c:v>
                </c:pt>
                <c:pt idx="354">
                  <c:v>2014-07-31</c:v>
                </c:pt>
                <c:pt idx="355">
                  <c:v>2014-08-31</c:v>
                </c:pt>
                <c:pt idx="356">
                  <c:v>2014-09-30</c:v>
                </c:pt>
                <c:pt idx="357">
                  <c:v>2014-10-31</c:v>
                </c:pt>
                <c:pt idx="358">
                  <c:v>2014-11-30</c:v>
                </c:pt>
                <c:pt idx="359">
                  <c:v>2014-12-31</c:v>
                </c:pt>
                <c:pt idx="360">
                  <c:v>2015-01-31</c:v>
                </c:pt>
                <c:pt idx="361">
                  <c:v>2015-02-28</c:v>
                </c:pt>
                <c:pt idx="362">
                  <c:v>2015-03-31</c:v>
                </c:pt>
                <c:pt idx="363">
                  <c:v>2015-04-30</c:v>
                </c:pt>
                <c:pt idx="364">
                  <c:v>2015-05-31</c:v>
                </c:pt>
                <c:pt idx="365">
                  <c:v>2015-06-30</c:v>
                </c:pt>
                <c:pt idx="366">
                  <c:v>2015-07-31</c:v>
                </c:pt>
                <c:pt idx="367">
                  <c:v>2015-08-31</c:v>
                </c:pt>
                <c:pt idx="368">
                  <c:v>2015-09-30</c:v>
                </c:pt>
                <c:pt idx="369">
                  <c:v>2015-10-31</c:v>
                </c:pt>
                <c:pt idx="370">
                  <c:v>2015-11-30</c:v>
                </c:pt>
                <c:pt idx="371">
                  <c:v>2015-12-31</c:v>
                </c:pt>
                <c:pt idx="372">
                  <c:v>2016-01-31</c:v>
                </c:pt>
                <c:pt idx="373">
                  <c:v>2016-02-29</c:v>
                </c:pt>
                <c:pt idx="374">
                  <c:v>2016-03-31</c:v>
                </c:pt>
                <c:pt idx="375">
                  <c:v>2016-04-30</c:v>
                </c:pt>
                <c:pt idx="376">
                  <c:v>2016-05-31</c:v>
                </c:pt>
                <c:pt idx="377">
                  <c:v>2016-06-30</c:v>
                </c:pt>
                <c:pt idx="378">
                  <c:v>2016-07-31</c:v>
                </c:pt>
                <c:pt idx="379">
                  <c:v>2016-08-31</c:v>
                </c:pt>
                <c:pt idx="380">
                  <c:v>2016-09-30</c:v>
                </c:pt>
                <c:pt idx="381">
                  <c:v>2016-10-31</c:v>
                </c:pt>
                <c:pt idx="382">
                  <c:v>2016-11-30</c:v>
                </c:pt>
                <c:pt idx="383">
                  <c:v>2016-12-31</c:v>
                </c:pt>
                <c:pt idx="384">
                  <c:v>2017-01-31</c:v>
                </c:pt>
                <c:pt idx="385">
                  <c:v>2017-02-28</c:v>
                </c:pt>
                <c:pt idx="386">
                  <c:v>2017-03-31</c:v>
                </c:pt>
                <c:pt idx="387">
                  <c:v>2017-04-30</c:v>
                </c:pt>
                <c:pt idx="388">
                  <c:v>2017-05-31</c:v>
                </c:pt>
                <c:pt idx="389">
                  <c:v>2017-06-30</c:v>
                </c:pt>
                <c:pt idx="390">
                  <c:v>2017-07-31</c:v>
                </c:pt>
                <c:pt idx="391">
                  <c:v>2017-08-31</c:v>
                </c:pt>
                <c:pt idx="392">
                  <c:v>2017-09-30</c:v>
                </c:pt>
                <c:pt idx="393">
                  <c:v>2017-10-31</c:v>
                </c:pt>
                <c:pt idx="394">
                  <c:v>2017-11-30</c:v>
                </c:pt>
                <c:pt idx="395">
                  <c:v>2017-12-31</c:v>
                </c:pt>
                <c:pt idx="396">
                  <c:v>2018-01-31</c:v>
                </c:pt>
                <c:pt idx="397">
                  <c:v>2018-02-28</c:v>
                </c:pt>
                <c:pt idx="398">
                  <c:v>2018-03-31</c:v>
                </c:pt>
                <c:pt idx="399">
                  <c:v>2018-04-30</c:v>
                </c:pt>
                <c:pt idx="400">
                  <c:v>2018-05-31</c:v>
                </c:pt>
                <c:pt idx="401">
                  <c:v>2018-06-30</c:v>
                </c:pt>
                <c:pt idx="402">
                  <c:v>2018-07-31</c:v>
                </c:pt>
                <c:pt idx="403">
                  <c:v>2018-08-31</c:v>
                </c:pt>
                <c:pt idx="404">
                  <c:v>2018-09-30</c:v>
                </c:pt>
                <c:pt idx="405">
                  <c:v>2018-10-31</c:v>
                </c:pt>
                <c:pt idx="406">
                  <c:v>2018-11-30</c:v>
                </c:pt>
                <c:pt idx="407">
                  <c:v>2018-12-31</c:v>
                </c:pt>
                <c:pt idx="408">
                  <c:v>2019-01-31</c:v>
                </c:pt>
                <c:pt idx="409">
                  <c:v>2019-02-28</c:v>
                </c:pt>
                <c:pt idx="410">
                  <c:v>2019-03-31</c:v>
                </c:pt>
                <c:pt idx="411">
                  <c:v>2019-04-30</c:v>
                </c:pt>
                <c:pt idx="412">
                  <c:v>2019-05-31</c:v>
                </c:pt>
                <c:pt idx="413">
                  <c:v>2019-06-30</c:v>
                </c:pt>
                <c:pt idx="414">
                  <c:v>2019-07-31</c:v>
                </c:pt>
                <c:pt idx="415">
                  <c:v>2019-08-31</c:v>
                </c:pt>
                <c:pt idx="416">
                  <c:v>2019-09-30</c:v>
                </c:pt>
                <c:pt idx="417">
                  <c:v>2019-10-31</c:v>
                </c:pt>
                <c:pt idx="418">
                  <c:v>2019-11-30</c:v>
                </c:pt>
                <c:pt idx="419">
                  <c:v>2019-12-31</c:v>
                </c:pt>
                <c:pt idx="420">
                  <c:v>2020-01-31</c:v>
                </c:pt>
                <c:pt idx="421">
                  <c:v>2020-02-29</c:v>
                </c:pt>
                <c:pt idx="422">
                  <c:v>2020-03-31</c:v>
                </c:pt>
                <c:pt idx="423">
                  <c:v>2020-04-30</c:v>
                </c:pt>
                <c:pt idx="424">
                  <c:v>2020-05-31</c:v>
                </c:pt>
                <c:pt idx="425">
                  <c:v>2020-06-30</c:v>
                </c:pt>
                <c:pt idx="426">
                  <c:v>2020-07-31</c:v>
                </c:pt>
                <c:pt idx="427">
                  <c:v>2020-08-31</c:v>
                </c:pt>
                <c:pt idx="428">
                  <c:v>2020-09-30</c:v>
                </c:pt>
                <c:pt idx="429">
                  <c:v>2020-10-31</c:v>
                </c:pt>
                <c:pt idx="430">
                  <c:v>2020-11-30</c:v>
                </c:pt>
                <c:pt idx="431">
                  <c:v>2020-12-31</c:v>
                </c:pt>
                <c:pt idx="432">
                  <c:v>2021-01-31</c:v>
                </c:pt>
                <c:pt idx="433">
                  <c:v>2021-02-28</c:v>
                </c:pt>
                <c:pt idx="434">
                  <c:v>2021-03-31</c:v>
                </c:pt>
                <c:pt idx="435">
                  <c:v>2021-04-30</c:v>
                </c:pt>
                <c:pt idx="436">
                  <c:v>2021-05-31</c:v>
                </c:pt>
                <c:pt idx="437">
                  <c:v>2021-06-30</c:v>
                </c:pt>
                <c:pt idx="438">
                  <c:v>2021-07-31</c:v>
                </c:pt>
                <c:pt idx="439">
                  <c:v>2021-08-31</c:v>
                </c:pt>
                <c:pt idx="440">
                  <c:v>2021-09-30</c:v>
                </c:pt>
                <c:pt idx="441">
                  <c:v>2021-10-31</c:v>
                </c:pt>
                <c:pt idx="442">
                  <c:v>2021-11-30</c:v>
                </c:pt>
                <c:pt idx="443">
                  <c:v>2021-12-31</c:v>
                </c:pt>
                <c:pt idx="444">
                  <c:v>2022-01-31</c:v>
                </c:pt>
                <c:pt idx="445">
                  <c:v>2022-02-28</c:v>
                </c:pt>
                <c:pt idx="446">
                  <c:v>2022-03-31</c:v>
                </c:pt>
                <c:pt idx="447">
                  <c:v>2022-04-30</c:v>
                </c:pt>
                <c:pt idx="448">
                  <c:v>2022-05-31</c:v>
                </c:pt>
                <c:pt idx="449">
                  <c:v>2022-06-30</c:v>
                </c:pt>
                <c:pt idx="450">
                  <c:v>2022-07-31</c:v>
                </c:pt>
                <c:pt idx="451">
                  <c:v>2022-08-31</c:v>
                </c:pt>
                <c:pt idx="452">
                  <c:v>2022-09-30</c:v>
                </c:pt>
                <c:pt idx="453">
                  <c:v>2022-10-31</c:v>
                </c:pt>
                <c:pt idx="454">
                  <c:v>2022-11-30</c:v>
                </c:pt>
                <c:pt idx="455">
                  <c:v>2022-12-31</c:v>
                </c:pt>
                <c:pt idx="456">
                  <c:v>2023-01-31</c:v>
                </c:pt>
                <c:pt idx="457">
                  <c:v>2023-02-28</c:v>
                </c:pt>
                <c:pt idx="458">
                  <c:v>2023-03-31</c:v>
                </c:pt>
                <c:pt idx="459">
                  <c:v>2023-04-30</c:v>
                </c:pt>
                <c:pt idx="460">
                  <c:v>2023-05-31</c:v>
                </c:pt>
                <c:pt idx="461">
                  <c:v>2023-06-30</c:v>
                </c:pt>
                <c:pt idx="462">
                  <c:v>2023-07-31</c:v>
                </c:pt>
                <c:pt idx="463">
                  <c:v>2023-08-31</c:v>
                </c:pt>
                <c:pt idx="464">
                  <c:v>2023-09-30</c:v>
                </c:pt>
                <c:pt idx="465">
                  <c:v>2023-10-31</c:v>
                </c:pt>
              </c:strCache>
            </c:strRef>
          </c:cat>
          <c:val>
            <c:numRef>
              <c:f>intrate!$AK$62:$AK$527</c:f>
              <c:numCache>
                <c:formatCode>0.0</c:formatCode>
                <c:ptCount val="466"/>
                <c:pt idx="0">
                  <c:v>8.73</c:v>
                </c:pt>
                <c:pt idx="1">
                  <c:v>8.74</c:v>
                </c:pt>
                <c:pt idx="2">
                  <c:v>8.58</c:v>
                </c:pt>
                <c:pt idx="3">
                  <c:v>8.58</c:v>
                </c:pt>
                <c:pt idx="4">
                  <c:v>7.64</c:v>
                </c:pt>
                <c:pt idx="5">
                  <c:v>7.95</c:v>
                </c:pt>
                <c:pt idx="6">
                  <c:v>8.61</c:v>
                </c:pt>
                <c:pt idx="7">
                  <c:v>7.8</c:v>
                </c:pt>
                <c:pt idx="8">
                  <c:v>8.84</c:v>
                </c:pt>
                <c:pt idx="9">
                  <c:v>8.08</c:v>
                </c:pt>
                <c:pt idx="10">
                  <c:v>8.5399999999999991</c:v>
                </c:pt>
                <c:pt idx="11">
                  <c:v>7.75</c:v>
                </c:pt>
                <c:pt idx="12">
                  <c:v>7.75</c:v>
                </c:pt>
                <c:pt idx="13">
                  <c:v>7.75</c:v>
                </c:pt>
                <c:pt idx="14">
                  <c:v>7.25</c:v>
                </c:pt>
                <c:pt idx="15">
                  <c:v>6.75</c:v>
                </c:pt>
                <c:pt idx="16">
                  <c:v>6.8125</c:v>
                </c:pt>
                <c:pt idx="17">
                  <c:v>6.875</c:v>
                </c:pt>
                <c:pt idx="18">
                  <c:v>6.375</c:v>
                </c:pt>
                <c:pt idx="19">
                  <c:v>5.875</c:v>
                </c:pt>
                <c:pt idx="20">
                  <c:v>5.875</c:v>
                </c:pt>
                <c:pt idx="21">
                  <c:v>5.875</c:v>
                </c:pt>
                <c:pt idx="22">
                  <c:v>5.875</c:v>
                </c:pt>
                <c:pt idx="23">
                  <c:v>5.875</c:v>
                </c:pt>
                <c:pt idx="24">
                  <c:v>6</c:v>
                </c:pt>
                <c:pt idx="25">
                  <c:v>6</c:v>
                </c:pt>
                <c:pt idx="26">
                  <c:v>6</c:v>
                </c:pt>
                <c:pt idx="27">
                  <c:v>6.5</c:v>
                </c:pt>
                <c:pt idx="28">
                  <c:v>6.75</c:v>
                </c:pt>
                <c:pt idx="29">
                  <c:v>6.75</c:v>
                </c:pt>
                <c:pt idx="30">
                  <c:v>6.625</c:v>
                </c:pt>
                <c:pt idx="31">
                  <c:v>6.75</c:v>
                </c:pt>
                <c:pt idx="32">
                  <c:v>7.3125</c:v>
                </c:pt>
                <c:pt idx="33">
                  <c:v>7.3125</c:v>
                </c:pt>
                <c:pt idx="34">
                  <c:v>6.8125</c:v>
                </c:pt>
                <c:pt idx="35">
                  <c:v>6.8125</c:v>
                </c:pt>
                <c:pt idx="36">
                  <c:v>6.625</c:v>
                </c:pt>
                <c:pt idx="37">
                  <c:v>6.5</c:v>
                </c:pt>
                <c:pt idx="38">
                  <c:v>6.75</c:v>
                </c:pt>
                <c:pt idx="39">
                  <c:v>6.75</c:v>
                </c:pt>
                <c:pt idx="40">
                  <c:v>7.25</c:v>
                </c:pt>
                <c:pt idx="41">
                  <c:v>7.4375</c:v>
                </c:pt>
                <c:pt idx="42">
                  <c:v>7.6875</c:v>
                </c:pt>
                <c:pt idx="43">
                  <c:v>8.125</c:v>
                </c:pt>
                <c:pt idx="44">
                  <c:v>8.125</c:v>
                </c:pt>
                <c:pt idx="45">
                  <c:v>8.125</c:v>
                </c:pt>
                <c:pt idx="46">
                  <c:v>8.375</c:v>
                </c:pt>
                <c:pt idx="47">
                  <c:v>8.6875</c:v>
                </c:pt>
                <c:pt idx="48">
                  <c:v>9</c:v>
                </c:pt>
                <c:pt idx="49">
                  <c:v>9.75</c:v>
                </c:pt>
                <c:pt idx="50">
                  <c:v>9.75</c:v>
                </c:pt>
                <c:pt idx="51">
                  <c:v>9.75</c:v>
                </c:pt>
                <c:pt idx="52">
                  <c:v>9.8125</c:v>
                </c:pt>
                <c:pt idx="53">
                  <c:v>9.5625</c:v>
                </c:pt>
                <c:pt idx="54">
                  <c:v>9.0625</c:v>
                </c:pt>
                <c:pt idx="55">
                  <c:v>9.0625</c:v>
                </c:pt>
                <c:pt idx="56">
                  <c:v>9.0625</c:v>
                </c:pt>
                <c:pt idx="57">
                  <c:v>8.75</c:v>
                </c:pt>
                <c:pt idx="58">
                  <c:v>8.5</c:v>
                </c:pt>
                <c:pt idx="59">
                  <c:v>8.25</c:v>
                </c:pt>
                <c:pt idx="60">
                  <c:v>8.25</c:v>
                </c:pt>
                <c:pt idx="61">
                  <c:v>8.25</c:v>
                </c:pt>
                <c:pt idx="62">
                  <c:v>8.25</c:v>
                </c:pt>
                <c:pt idx="63">
                  <c:v>8.25</c:v>
                </c:pt>
                <c:pt idx="64">
                  <c:v>8.25</c:v>
                </c:pt>
                <c:pt idx="65">
                  <c:v>8.25</c:v>
                </c:pt>
                <c:pt idx="66">
                  <c:v>8</c:v>
                </c:pt>
                <c:pt idx="67">
                  <c:v>8</c:v>
                </c:pt>
                <c:pt idx="68">
                  <c:v>8</c:v>
                </c:pt>
                <c:pt idx="69">
                  <c:v>7.75</c:v>
                </c:pt>
                <c:pt idx="70">
                  <c:v>7.5</c:v>
                </c:pt>
                <c:pt idx="71">
                  <c:v>7</c:v>
                </c:pt>
                <c:pt idx="72">
                  <c:v>6.75</c:v>
                </c:pt>
                <c:pt idx="73">
                  <c:v>6.25</c:v>
                </c:pt>
                <c:pt idx="74">
                  <c:v>6</c:v>
                </c:pt>
                <c:pt idx="75">
                  <c:v>5.75</c:v>
                </c:pt>
                <c:pt idx="76">
                  <c:v>5.75</c:v>
                </c:pt>
                <c:pt idx="77">
                  <c:v>5.75</c:v>
                </c:pt>
                <c:pt idx="78">
                  <c:v>5.75</c:v>
                </c:pt>
                <c:pt idx="79">
                  <c:v>5.5</c:v>
                </c:pt>
                <c:pt idx="80">
                  <c:v>5.25</c:v>
                </c:pt>
                <c:pt idx="81">
                  <c:v>5</c:v>
                </c:pt>
                <c:pt idx="82">
                  <c:v>4.75</c:v>
                </c:pt>
                <c:pt idx="83">
                  <c:v>4</c:v>
                </c:pt>
                <c:pt idx="84">
                  <c:v>4</c:v>
                </c:pt>
                <c:pt idx="85">
                  <c:v>4</c:v>
                </c:pt>
                <c:pt idx="86">
                  <c:v>4</c:v>
                </c:pt>
                <c:pt idx="87">
                  <c:v>3.75</c:v>
                </c:pt>
                <c:pt idx="88">
                  <c:v>3.75</c:v>
                </c:pt>
                <c:pt idx="89">
                  <c:v>3.75</c:v>
                </c:pt>
                <c:pt idx="90">
                  <c:v>3.25</c:v>
                </c:pt>
                <c:pt idx="91">
                  <c:v>3.25</c:v>
                </c:pt>
                <c:pt idx="92">
                  <c:v>3</c:v>
                </c:pt>
                <c:pt idx="93">
                  <c:v>3</c:v>
                </c:pt>
                <c:pt idx="94">
                  <c:v>3</c:v>
                </c:pt>
                <c:pt idx="95">
                  <c:v>3</c:v>
                </c:pt>
                <c:pt idx="96">
                  <c:v>3</c:v>
                </c:pt>
                <c:pt idx="97">
                  <c:v>3</c:v>
                </c:pt>
                <c:pt idx="98">
                  <c:v>3</c:v>
                </c:pt>
                <c:pt idx="99">
                  <c:v>3</c:v>
                </c:pt>
                <c:pt idx="100">
                  <c:v>3</c:v>
                </c:pt>
                <c:pt idx="101">
                  <c:v>3</c:v>
                </c:pt>
                <c:pt idx="102">
                  <c:v>3</c:v>
                </c:pt>
                <c:pt idx="103">
                  <c:v>3</c:v>
                </c:pt>
                <c:pt idx="104">
                  <c:v>3</c:v>
                </c:pt>
                <c:pt idx="105">
                  <c:v>3</c:v>
                </c:pt>
                <c:pt idx="106">
                  <c:v>3</c:v>
                </c:pt>
                <c:pt idx="107">
                  <c:v>3</c:v>
                </c:pt>
                <c:pt idx="108">
                  <c:v>3</c:v>
                </c:pt>
                <c:pt idx="109">
                  <c:v>3.25</c:v>
                </c:pt>
                <c:pt idx="110">
                  <c:v>3.5</c:v>
                </c:pt>
                <c:pt idx="111">
                  <c:v>3.75</c:v>
                </c:pt>
                <c:pt idx="112">
                  <c:v>4.25</c:v>
                </c:pt>
                <c:pt idx="113">
                  <c:v>4.25</c:v>
                </c:pt>
                <c:pt idx="114">
                  <c:v>4.25</c:v>
                </c:pt>
                <c:pt idx="115">
                  <c:v>4.75</c:v>
                </c:pt>
                <c:pt idx="116">
                  <c:v>4.75</c:v>
                </c:pt>
                <c:pt idx="117">
                  <c:v>4.75</c:v>
                </c:pt>
                <c:pt idx="118">
                  <c:v>5.5</c:v>
                </c:pt>
                <c:pt idx="119">
                  <c:v>5.5</c:v>
                </c:pt>
                <c:pt idx="120">
                  <c:v>5.5</c:v>
                </c:pt>
                <c:pt idx="121">
                  <c:v>6</c:v>
                </c:pt>
                <c:pt idx="122">
                  <c:v>6</c:v>
                </c:pt>
                <c:pt idx="123">
                  <c:v>6</c:v>
                </c:pt>
                <c:pt idx="124">
                  <c:v>6</c:v>
                </c:pt>
                <c:pt idx="125">
                  <c:v>6</c:v>
                </c:pt>
                <c:pt idx="126">
                  <c:v>5.75</c:v>
                </c:pt>
                <c:pt idx="127">
                  <c:v>5.75</c:v>
                </c:pt>
                <c:pt idx="128">
                  <c:v>5.75</c:v>
                </c:pt>
                <c:pt idx="129">
                  <c:v>5.75</c:v>
                </c:pt>
                <c:pt idx="130">
                  <c:v>5.75</c:v>
                </c:pt>
                <c:pt idx="131">
                  <c:v>5.5</c:v>
                </c:pt>
                <c:pt idx="132">
                  <c:v>5.25</c:v>
                </c:pt>
                <c:pt idx="133">
                  <c:v>5.25</c:v>
                </c:pt>
                <c:pt idx="134">
                  <c:v>5.25</c:v>
                </c:pt>
                <c:pt idx="135">
                  <c:v>5.25</c:v>
                </c:pt>
                <c:pt idx="136">
                  <c:v>5.25</c:v>
                </c:pt>
                <c:pt idx="137">
                  <c:v>5.25</c:v>
                </c:pt>
                <c:pt idx="138">
                  <c:v>5.25</c:v>
                </c:pt>
                <c:pt idx="139">
                  <c:v>5.25</c:v>
                </c:pt>
                <c:pt idx="140">
                  <c:v>5.25</c:v>
                </c:pt>
                <c:pt idx="141">
                  <c:v>5.25</c:v>
                </c:pt>
                <c:pt idx="142">
                  <c:v>5.25</c:v>
                </c:pt>
                <c:pt idx="143">
                  <c:v>5.25</c:v>
                </c:pt>
                <c:pt idx="144">
                  <c:v>5.25</c:v>
                </c:pt>
                <c:pt idx="145">
                  <c:v>5.25</c:v>
                </c:pt>
                <c:pt idx="146">
                  <c:v>5.5</c:v>
                </c:pt>
                <c:pt idx="147">
                  <c:v>5.5</c:v>
                </c:pt>
                <c:pt idx="148">
                  <c:v>5.5</c:v>
                </c:pt>
                <c:pt idx="149">
                  <c:v>5.5</c:v>
                </c:pt>
                <c:pt idx="150">
                  <c:v>5.5</c:v>
                </c:pt>
                <c:pt idx="151">
                  <c:v>5.5</c:v>
                </c:pt>
                <c:pt idx="152">
                  <c:v>5.5</c:v>
                </c:pt>
                <c:pt idx="153">
                  <c:v>5.5</c:v>
                </c:pt>
                <c:pt idx="154">
                  <c:v>5.5</c:v>
                </c:pt>
                <c:pt idx="155">
                  <c:v>5.5</c:v>
                </c:pt>
                <c:pt idx="156">
                  <c:v>5.5</c:v>
                </c:pt>
                <c:pt idx="157">
                  <c:v>5.5</c:v>
                </c:pt>
                <c:pt idx="158">
                  <c:v>5.5</c:v>
                </c:pt>
                <c:pt idx="159">
                  <c:v>5.5</c:v>
                </c:pt>
                <c:pt idx="160">
                  <c:v>5.5</c:v>
                </c:pt>
                <c:pt idx="161">
                  <c:v>5.5</c:v>
                </c:pt>
                <c:pt idx="162">
                  <c:v>5.5</c:v>
                </c:pt>
                <c:pt idx="163">
                  <c:v>5.5</c:v>
                </c:pt>
                <c:pt idx="164">
                  <c:v>5.25</c:v>
                </c:pt>
                <c:pt idx="165">
                  <c:v>5</c:v>
                </c:pt>
                <c:pt idx="166">
                  <c:v>4.75</c:v>
                </c:pt>
                <c:pt idx="167">
                  <c:v>4.75</c:v>
                </c:pt>
                <c:pt idx="168">
                  <c:v>4.75</c:v>
                </c:pt>
                <c:pt idx="169">
                  <c:v>4.75</c:v>
                </c:pt>
                <c:pt idx="170">
                  <c:v>4.75</c:v>
                </c:pt>
                <c:pt idx="171">
                  <c:v>4.75</c:v>
                </c:pt>
                <c:pt idx="172">
                  <c:v>4.75</c:v>
                </c:pt>
                <c:pt idx="173">
                  <c:v>5</c:v>
                </c:pt>
                <c:pt idx="174">
                  <c:v>5</c:v>
                </c:pt>
                <c:pt idx="175">
                  <c:v>5.25</c:v>
                </c:pt>
                <c:pt idx="176">
                  <c:v>5.25</c:v>
                </c:pt>
                <c:pt idx="177">
                  <c:v>5.25</c:v>
                </c:pt>
                <c:pt idx="178">
                  <c:v>5.5</c:v>
                </c:pt>
                <c:pt idx="179">
                  <c:v>5.5</c:v>
                </c:pt>
                <c:pt idx="180">
                  <c:v>5.5</c:v>
                </c:pt>
                <c:pt idx="181">
                  <c:v>5.75</c:v>
                </c:pt>
                <c:pt idx="182">
                  <c:v>6</c:v>
                </c:pt>
                <c:pt idx="183">
                  <c:v>6</c:v>
                </c:pt>
                <c:pt idx="184">
                  <c:v>6.5</c:v>
                </c:pt>
                <c:pt idx="185">
                  <c:v>6.5</c:v>
                </c:pt>
                <c:pt idx="186">
                  <c:v>6.5</c:v>
                </c:pt>
                <c:pt idx="187">
                  <c:v>6.5</c:v>
                </c:pt>
                <c:pt idx="188">
                  <c:v>6.5</c:v>
                </c:pt>
                <c:pt idx="189">
                  <c:v>6.5</c:v>
                </c:pt>
                <c:pt idx="190">
                  <c:v>6.5</c:v>
                </c:pt>
                <c:pt idx="191">
                  <c:v>6.5</c:v>
                </c:pt>
                <c:pt idx="192">
                  <c:v>5.5</c:v>
                </c:pt>
                <c:pt idx="193">
                  <c:v>5.5</c:v>
                </c:pt>
                <c:pt idx="194">
                  <c:v>5</c:v>
                </c:pt>
                <c:pt idx="195">
                  <c:v>4.5</c:v>
                </c:pt>
                <c:pt idx="196">
                  <c:v>4</c:v>
                </c:pt>
                <c:pt idx="197">
                  <c:v>3.75</c:v>
                </c:pt>
                <c:pt idx="198">
                  <c:v>3.75</c:v>
                </c:pt>
                <c:pt idx="199">
                  <c:v>3.5</c:v>
                </c:pt>
                <c:pt idx="200">
                  <c:v>3</c:v>
                </c:pt>
                <c:pt idx="201">
                  <c:v>2.5</c:v>
                </c:pt>
                <c:pt idx="202">
                  <c:v>2</c:v>
                </c:pt>
                <c:pt idx="203">
                  <c:v>1.75</c:v>
                </c:pt>
                <c:pt idx="204">
                  <c:v>1.75</c:v>
                </c:pt>
                <c:pt idx="205">
                  <c:v>1.75</c:v>
                </c:pt>
                <c:pt idx="206">
                  <c:v>1.75</c:v>
                </c:pt>
                <c:pt idx="207">
                  <c:v>1.75</c:v>
                </c:pt>
                <c:pt idx="208">
                  <c:v>1.75</c:v>
                </c:pt>
                <c:pt idx="209">
                  <c:v>1.75</c:v>
                </c:pt>
                <c:pt idx="210">
                  <c:v>1.75</c:v>
                </c:pt>
                <c:pt idx="211">
                  <c:v>1.75</c:v>
                </c:pt>
                <c:pt idx="212">
                  <c:v>1.75</c:v>
                </c:pt>
                <c:pt idx="213">
                  <c:v>1.75</c:v>
                </c:pt>
                <c:pt idx="214">
                  <c:v>1.25</c:v>
                </c:pt>
                <c:pt idx="215">
                  <c:v>1.25</c:v>
                </c:pt>
                <c:pt idx="216">
                  <c:v>1.25</c:v>
                </c:pt>
                <c:pt idx="217">
                  <c:v>1.25</c:v>
                </c:pt>
                <c:pt idx="218">
                  <c:v>1.25</c:v>
                </c:pt>
                <c:pt idx="219">
                  <c:v>1.25</c:v>
                </c:pt>
                <c:pt idx="220">
                  <c:v>1.25</c:v>
                </c:pt>
                <c:pt idx="221">
                  <c:v>1</c:v>
                </c:pt>
                <c:pt idx="222">
                  <c:v>1</c:v>
                </c:pt>
                <c:pt idx="223">
                  <c:v>1</c:v>
                </c:pt>
                <c:pt idx="224">
                  <c:v>1</c:v>
                </c:pt>
                <c:pt idx="225">
                  <c:v>1</c:v>
                </c:pt>
                <c:pt idx="226">
                  <c:v>1</c:v>
                </c:pt>
                <c:pt idx="227">
                  <c:v>1</c:v>
                </c:pt>
                <c:pt idx="228">
                  <c:v>1</c:v>
                </c:pt>
                <c:pt idx="229">
                  <c:v>1</c:v>
                </c:pt>
                <c:pt idx="230">
                  <c:v>1</c:v>
                </c:pt>
                <c:pt idx="231">
                  <c:v>1</c:v>
                </c:pt>
                <c:pt idx="232">
                  <c:v>1</c:v>
                </c:pt>
                <c:pt idx="233">
                  <c:v>1.25</c:v>
                </c:pt>
                <c:pt idx="234">
                  <c:v>1.25</c:v>
                </c:pt>
                <c:pt idx="235">
                  <c:v>1.5</c:v>
                </c:pt>
                <c:pt idx="236">
                  <c:v>1.75</c:v>
                </c:pt>
                <c:pt idx="237">
                  <c:v>1.75</c:v>
                </c:pt>
                <c:pt idx="238">
                  <c:v>2</c:v>
                </c:pt>
                <c:pt idx="239">
                  <c:v>2.25</c:v>
                </c:pt>
                <c:pt idx="240">
                  <c:v>2.25</c:v>
                </c:pt>
                <c:pt idx="241">
                  <c:v>2.5</c:v>
                </c:pt>
                <c:pt idx="242">
                  <c:v>2.75</c:v>
                </c:pt>
                <c:pt idx="243">
                  <c:v>2.75</c:v>
                </c:pt>
                <c:pt idx="244">
                  <c:v>3</c:v>
                </c:pt>
                <c:pt idx="245">
                  <c:v>3.25</c:v>
                </c:pt>
                <c:pt idx="246">
                  <c:v>3.25</c:v>
                </c:pt>
                <c:pt idx="247">
                  <c:v>3.5</c:v>
                </c:pt>
                <c:pt idx="248">
                  <c:v>3.75</c:v>
                </c:pt>
                <c:pt idx="249">
                  <c:v>3.75</c:v>
                </c:pt>
                <c:pt idx="250">
                  <c:v>4</c:v>
                </c:pt>
                <c:pt idx="251">
                  <c:v>4.25</c:v>
                </c:pt>
                <c:pt idx="252">
                  <c:v>4.5</c:v>
                </c:pt>
                <c:pt idx="253">
                  <c:v>4.5</c:v>
                </c:pt>
                <c:pt idx="254">
                  <c:v>4.75</c:v>
                </c:pt>
                <c:pt idx="255">
                  <c:v>4.75</c:v>
                </c:pt>
                <c:pt idx="256">
                  <c:v>5</c:v>
                </c:pt>
                <c:pt idx="257">
                  <c:v>5.25</c:v>
                </c:pt>
                <c:pt idx="258">
                  <c:v>5.25</c:v>
                </c:pt>
                <c:pt idx="259">
                  <c:v>5.25</c:v>
                </c:pt>
                <c:pt idx="260">
                  <c:v>5.25</c:v>
                </c:pt>
                <c:pt idx="261">
                  <c:v>5.25</c:v>
                </c:pt>
                <c:pt idx="262">
                  <c:v>5.25</c:v>
                </c:pt>
                <c:pt idx="263">
                  <c:v>5.25</c:v>
                </c:pt>
                <c:pt idx="264">
                  <c:v>5.25</c:v>
                </c:pt>
                <c:pt idx="265">
                  <c:v>5.25</c:v>
                </c:pt>
                <c:pt idx="266">
                  <c:v>5.25</c:v>
                </c:pt>
                <c:pt idx="267">
                  <c:v>5.25</c:v>
                </c:pt>
                <c:pt idx="268">
                  <c:v>5.25</c:v>
                </c:pt>
                <c:pt idx="269">
                  <c:v>5.25</c:v>
                </c:pt>
                <c:pt idx="270">
                  <c:v>5.25</c:v>
                </c:pt>
                <c:pt idx="271">
                  <c:v>5.25</c:v>
                </c:pt>
                <c:pt idx="272">
                  <c:v>4.75</c:v>
                </c:pt>
                <c:pt idx="273">
                  <c:v>4.5</c:v>
                </c:pt>
                <c:pt idx="274">
                  <c:v>4.5</c:v>
                </c:pt>
                <c:pt idx="275">
                  <c:v>4.25</c:v>
                </c:pt>
                <c:pt idx="276">
                  <c:v>3</c:v>
                </c:pt>
                <c:pt idx="277">
                  <c:v>3</c:v>
                </c:pt>
                <c:pt idx="278">
                  <c:v>2.25</c:v>
                </c:pt>
                <c:pt idx="279">
                  <c:v>2</c:v>
                </c:pt>
                <c:pt idx="280">
                  <c:v>2</c:v>
                </c:pt>
                <c:pt idx="281">
                  <c:v>2</c:v>
                </c:pt>
                <c:pt idx="282">
                  <c:v>2</c:v>
                </c:pt>
                <c:pt idx="283">
                  <c:v>2</c:v>
                </c:pt>
                <c:pt idx="284">
                  <c:v>2</c:v>
                </c:pt>
                <c:pt idx="285">
                  <c:v>1</c:v>
                </c:pt>
                <c:pt idx="286">
                  <c:v>1</c:v>
                </c:pt>
                <c:pt idx="287">
                  <c:v>0.125</c:v>
                </c:pt>
                <c:pt idx="288">
                  <c:v>0.125</c:v>
                </c:pt>
                <c:pt idx="289">
                  <c:v>0.125</c:v>
                </c:pt>
                <c:pt idx="290">
                  <c:v>0.125</c:v>
                </c:pt>
                <c:pt idx="291">
                  <c:v>0.125</c:v>
                </c:pt>
                <c:pt idx="292">
                  <c:v>0.125</c:v>
                </c:pt>
                <c:pt idx="293">
                  <c:v>0.125</c:v>
                </c:pt>
                <c:pt idx="294">
                  <c:v>0.125</c:v>
                </c:pt>
                <c:pt idx="295">
                  <c:v>0.125</c:v>
                </c:pt>
                <c:pt idx="296">
                  <c:v>0.125</c:v>
                </c:pt>
                <c:pt idx="297">
                  <c:v>0.125</c:v>
                </c:pt>
                <c:pt idx="298">
                  <c:v>0.125</c:v>
                </c:pt>
                <c:pt idx="299">
                  <c:v>0.125</c:v>
                </c:pt>
                <c:pt idx="300">
                  <c:v>0.125</c:v>
                </c:pt>
                <c:pt idx="301">
                  <c:v>0.125</c:v>
                </c:pt>
                <c:pt idx="302">
                  <c:v>0.125</c:v>
                </c:pt>
                <c:pt idx="303">
                  <c:v>0.125</c:v>
                </c:pt>
                <c:pt idx="304">
                  <c:v>0.125</c:v>
                </c:pt>
                <c:pt idx="305">
                  <c:v>0.125</c:v>
                </c:pt>
                <c:pt idx="306">
                  <c:v>0.125</c:v>
                </c:pt>
                <c:pt idx="307">
                  <c:v>0.125</c:v>
                </c:pt>
                <c:pt idx="308">
                  <c:v>0.125</c:v>
                </c:pt>
                <c:pt idx="309">
                  <c:v>0.125</c:v>
                </c:pt>
                <c:pt idx="310">
                  <c:v>0.125</c:v>
                </c:pt>
                <c:pt idx="311">
                  <c:v>0.125</c:v>
                </c:pt>
                <c:pt idx="312">
                  <c:v>0.125</c:v>
                </c:pt>
                <c:pt idx="313">
                  <c:v>0.125</c:v>
                </c:pt>
                <c:pt idx="314">
                  <c:v>0.125</c:v>
                </c:pt>
                <c:pt idx="315">
                  <c:v>0.125</c:v>
                </c:pt>
                <c:pt idx="316">
                  <c:v>0.125</c:v>
                </c:pt>
                <c:pt idx="317">
                  <c:v>0.125</c:v>
                </c:pt>
                <c:pt idx="318">
                  <c:v>0.125</c:v>
                </c:pt>
                <c:pt idx="319">
                  <c:v>0.125</c:v>
                </c:pt>
                <c:pt idx="320">
                  <c:v>0.125</c:v>
                </c:pt>
                <c:pt idx="321">
                  <c:v>0.125</c:v>
                </c:pt>
                <c:pt idx="322">
                  <c:v>0.125</c:v>
                </c:pt>
                <c:pt idx="323">
                  <c:v>0.125</c:v>
                </c:pt>
                <c:pt idx="324">
                  <c:v>0.125</c:v>
                </c:pt>
                <c:pt idx="325">
                  <c:v>0.125</c:v>
                </c:pt>
                <c:pt idx="326">
                  <c:v>0.125</c:v>
                </c:pt>
                <c:pt idx="327">
                  <c:v>0.125</c:v>
                </c:pt>
                <c:pt idx="328">
                  <c:v>0.125</c:v>
                </c:pt>
                <c:pt idx="329">
                  <c:v>0.125</c:v>
                </c:pt>
                <c:pt idx="330">
                  <c:v>0.125</c:v>
                </c:pt>
                <c:pt idx="331">
                  <c:v>0.125</c:v>
                </c:pt>
                <c:pt idx="332">
                  <c:v>0.125</c:v>
                </c:pt>
                <c:pt idx="333">
                  <c:v>0.125</c:v>
                </c:pt>
                <c:pt idx="334">
                  <c:v>0.125</c:v>
                </c:pt>
                <c:pt idx="335">
                  <c:v>0.125</c:v>
                </c:pt>
                <c:pt idx="336">
                  <c:v>0.125</c:v>
                </c:pt>
                <c:pt idx="337">
                  <c:v>0.125</c:v>
                </c:pt>
                <c:pt idx="338">
                  <c:v>0.125</c:v>
                </c:pt>
                <c:pt idx="339">
                  <c:v>0.125</c:v>
                </c:pt>
                <c:pt idx="340">
                  <c:v>0.125</c:v>
                </c:pt>
                <c:pt idx="341">
                  <c:v>0.125</c:v>
                </c:pt>
                <c:pt idx="342">
                  <c:v>0.125</c:v>
                </c:pt>
                <c:pt idx="343">
                  <c:v>0.125</c:v>
                </c:pt>
                <c:pt idx="344">
                  <c:v>0.125</c:v>
                </c:pt>
                <c:pt idx="345">
                  <c:v>0.125</c:v>
                </c:pt>
                <c:pt idx="346">
                  <c:v>0.125</c:v>
                </c:pt>
                <c:pt idx="347">
                  <c:v>0.125</c:v>
                </c:pt>
                <c:pt idx="348">
                  <c:v>0.125</c:v>
                </c:pt>
                <c:pt idx="349">
                  <c:v>0.125</c:v>
                </c:pt>
                <c:pt idx="350">
                  <c:v>0.125</c:v>
                </c:pt>
                <c:pt idx="351">
                  <c:v>0.125</c:v>
                </c:pt>
                <c:pt idx="352">
                  <c:v>0.125</c:v>
                </c:pt>
                <c:pt idx="353">
                  <c:v>0.125</c:v>
                </c:pt>
                <c:pt idx="354">
                  <c:v>0.125</c:v>
                </c:pt>
                <c:pt idx="355">
                  <c:v>0.125</c:v>
                </c:pt>
                <c:pt idx="356">
                  <c:v>0.125</c:v>
                </c:pt>
                <c:pt idx="357">
                  <c:v>0.125</c:v>
                </c:pt>
                <c:pt idx="358">
                  <c:v>0.125</c:v>
                </c:pt>
                <c:pt idx="359">
                  <c:v>0.125</c:v>
                </c:pt>
                <c:pt idx="360">
                  <c:v>0.125</c:v>
                </c:pt>
                <c:pt idx="361">
                  <c:v>0.125</c:v>
                </c:pt>
                <c:pt idx="362">
                  <c:v>0.125</c:v>
                </c:pt>
                <c:pt idx="363">
                  <c:v>0.125</c:v>
                </c:pt>
                <c:pt idx="364">
                  <c:v>0.125</c:v>
                </c:pt>
                <c:pt idx="365">
                  <c:v>0.125</c:v>
                </c:pt>
                <c:pt idx="366">
                  <c:v>0.125</c:v>
                </c:pt>
                <c:pt idx="367">
                  <c:v>0.125</c:v>
                </c:pt>
                <c:pt idx="368">
                  <c:v>0.125</c:v>
                </c:pt>
                <c:pt idx="369">
                  <c:v>0.125</c:v>
                </c:pt>
                <c:pt idx="370">
                  <c:v>0.125</c:v>
                </c:pt>
                <c:pt idx="371">
                  <c:v>0.375</c:v>
                </c:pt>
                <c:pt idx="372">
                  <c:v>0.375</c:v>
                </c:pt>
                <c:pt idx="373">
                  <c:v>0.375</c:v>
                </c:pt>
                <c:pt idx="374">
                  <c:v>0.375</c:v>
                </c:pt>
                <c:pt idx="375">
                  <c:v>0.375</c:v>
                </c:pt>
                <c:pt idx="376">
                  <c:v>0.375</c:v>
                </c:pt>
                <c:pt idx="377">
                  <c:v>0.375</c:v>
                </c:pt>
                <c:pt idx="378">
                  <c:v>0.375</c:v>
                </c:pt>
                <c:pt idx="379">
                  <c:v>0.375</c:v>
                </c:pt>
                <c:pt idx="380">
                  <c:v>0.375</c:v>
                </c:pt>
                <c:pt idx="381">
                  <c:v>0.375</c:v>
                </c:pt>
                <c:pt idx="382">
                  <c:v>0.375</c:v>
                </c:pt>
                <c:pt idx="383">
                  <c:v>0.625</c:v>
                </c:pt>
                <c:pt idx="384">
                  <c:v>0.625</c:v>
                </c:pt>
                <c:pt idx="385">
                  <c:v>0.625</c:v>
                </c:pt>
                <c:pt idx="386">
                  <c:v>0.875</c:v>
                </c:pt>
                <c:pt idx="387">
                  <c:v>0.875</c:v>
                </c:pt>
                <c:pt idx="388">
                  <c:v>0.875</c:v>
                </c:pt>
                <c:pt idx="389">
                  <c:v>1.125</c:v>
                </c:pt>
                <c:pt idx="390">
                  <c:v>1.125</c:v>
                </c:pt>
                <c:pt idx="391">
                  <c:v>1.125</c:v>
                </c:pt>
                <c:pt idx="392">
                  <c:v>1.125</c:v>
                </c:pt>
                <c:pt idx="393">
                  <c:v>1.125</c:v>
                </c:pt>
                <c:pt idx="394">
                  <c:v>1.125</c:v>
                </c:pt>
                <c:pt idx="395">
                  <c:v>1.375</c:v>
                </c:pt>
                <c:pt idx="396">
                  <c:v>1.375</c:v>
                </c:pt>
                <c:pt idx="397">
                  <c:v>1.375</c:v>
                </c:pt>
                <c:pt idx="398">
                  <c:v>1.625</c:v>
                </c:pt>
                <c:pt idx="399">
                  <c:v>1.625</c:v>
                </c:pt>
                <c:pt idx="400">
                  <c:v>1.625</c:v>
                </c:pt>
                <c:pt idx="401">
                  <c:v>1.875</c:v>
                </c:pt>
                <c:pt idx="402">
                  <c:v>1.875</c:v>
                </c:pt>
                <c:pt idx="403">
                  <c:v>1.875</c:v>
                </c:pt>
                <c:pt idx="404">
                  <c:v>2.125</c:v>
                </c:pt>
                <c:pt idx="405">
                  <c:v>2.125</c:v>
                </c:pt>
                <c:pt idx="406">
                  <c:v>2.125</c:v>
                </c:pt>
                <c:pt idx="407">
                  <c:v>2.375</c:v>
                </c:pt>
                <c:pt idx="408">
                  <c:v>2.375</c:v>
                </c:pt>
                <c:pt idx="409">
                  <c:v>2.375</c:v>
                </c:pt>
                <c:pt idx="410">
                  <c:v>2.375</c:v>
                </c:pt>
                <c:pt idx="411">
                  <c:v>2.375</c:v>
                </c:pt>
                <c:pt idx="412">
                  <c:v>2.375</c:v>
                </c:pt>
                <c:pt idx="413">
                  <c:v>2.375</c:v>
                </c:pt>
                <c:pt idx="414">
                  <c:v>2.375</c:v>
                </c:pt>
                <c:pt idx="415">
                  <c:v>2.125</c:v>
                </c:pt>
                <c:pt idx="416">
                  <c:v>1.875</c:v>
                </c:pt>
                <c:pt idx="417">
                  <c:v>1.625</c:v>
                </c:pt>
                <c:pt idx="418">
                  <c:v>1.625</c:v>
                </c:pt>
                <c:pt idx="419">
                  <c:v>1.625</c:v>
                </c:pt>
                <c:pt idx="420">
                  <c:v>1.625</c:v>
                </c:pt>
                <c:pt idx="421">
                  <c:v>1.625</c:v>
                </c:pt>
                <c:pt idx="422">
                  <c:v>0.125</c:v>
                </c:pt>
                <c:pt idx="423">
                  <c:v>0.125</c:v>
                </c:pt>
                <c:pt idx="424">
                  <c:v>0.125</c:v>
                </c:pt>
                <c:pt idx="425">
                  <c:v>0.125</c:v>
                </c:pt>
                <c:pt idx="426">
                  <c:v>0.125</c:v>
                </c:pt>
                <c:pt idx="427">
                  <c:v>0.125</c:v>
                </c:pt>
                <c:pt idx="428">
                  <c:v>0.125</c:v>
                </c:pt>
                <c:pt idx="429">
                  <c:v>0.125</c:v>
                </c:pt>
                <c:pt idx="430">
                  <c:v>0.125</c:v>
                </c:pt>
                <c:pt idx="431">
                  <c:v>0.125</c:v>
                </c:pt>
                <c:pt idx="432">
                  <c:v>0.125</c:v>
                </c:pt>
                <c:pt idx="433">
                  <c:v>0.125</c:v>
                </c:pt>
                <c:pt idx="434">
                  <c:v>0.125</c:v>
                </c:pt>
                <c:pt idx="435">
                  <c:v>0.125</c:v>
                </c:pt>
                <c:pt idx="436">
                  <c:v>0.125</c:v>
                </c:pt>
                <c:pt idx="437">
                  <c:v>0.125</c:v>
                </c:pt>
                <c:pt idx="438">
                  <c:v>0.125</c:v>
                </c:pt>
                <c:pt idx="439">
                  <c:v>0.125</c:v>
                </c:pt>
                <c:pt idx="440">
                  <c:v>0.125</c:v>
                </c:pt>
                <c:pt idx="441">
                  <c:v>0.125</c:v>
                </c:pt>
                <c:pt idx="442">
                  <c:v>0.125</c:v>
                </c:pt>
                <c:pt idx="443">
                  <c:v>0.125</c:v>
                </c:pt>
                <c:pt idx="444">
                  <c:v>0.125</c:v>
                </c:pt>
                <c:pt idx="445">
                  <c:v>0.125</c:v>
                </c:pt>
                <c:pt idx="446">
                  <c:v>0.375</c:v>
                </c:pt>
                <c:pt idx="447">
                  <c:v>0.375</c:v>
                </c:pt>
                <c:pt idx="448">
                  <c:v>0.875</c:v>
                </c:pt>
                <c:pt idx="449">
                  <c:v>1.625</c:v>
                </c:pt>
                <c:pt idx="450">
                  <c:v>2.375</c:v>
                </c:pt>
                <c:pt idx="451">
                  <c:v>2.375</c:v>
                </c:pt>
                <c:pt idx="452">
                  <c:v>3.125</c:v>
                </c:pt>
                <c:pt idx="453">
                  <c:v>3.125</c:v>
                </c:pt>
                <c:pt idx="454">
                  <c:v>3.875</c:v>
                </c:pt>
                <c:pt idx="455">
                  <c:v>4.375</c:v>
                </c:pt>
                <c:pt idx="456">
                  <c:v>4.375</c:v>
                </c:pt>
                <c:pt idx="457">
                  <c:v>4.625</c:v>
                </c:pt>
                <c:pt idx="458">
                  <c:v>4.875</c:v>
                </c:pt>
                <c:pt idx="459">
                  <c:v>4.875</c:v>
                </c:pt>
                <c:pt idx="460">
                  <c:v>5.125</c:v>
                </c:pt>
                <c:pt idx="461">
                  <c:v>5.125</c:v>
                </c:pt>
                <c:pt idx="462">
                  <c:v>5.375</c:v>
                </c:pt>
                <c:pt idx="463">
                  <c:v>5.375</c:v>
                </c:pt>
                <c:pt idx="464">
                  <c:v>5.375</c:v>
                </c:pt>
                <c:pt idx="465">
                  <c:v>5.37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BFF6-4CA8-BD62-95750142F000}"/>
            </c:ext>
          </c:extLst>
        </c:ser>
        <c:ser>
          <c:idx val="0"/>
          <c:order val="1"/>
          <c:tx>
            <c:strRef>
              <c:f>intrate!$AM$1</c:f>
              <c:strCache>
                <c:ptCount val="1"/>
                <c:pt idx="0">
                  <c:v>6 months average inflation</c:v>
                </c:pt>
              </c:strCache>
            </c:strRef>
          </c:tx>
          <c:spPr>
            <a:ln w="31750">
              <a:prstDash val="sysDot"/>
            </a:ln>
          </c:spPr>
          <c:marker>
            <c:symbol val="none"/>
          </c:marker>
          <c:cat>
            <c:strRef>
              <c:f>intrate!$A$62:$A$527</c:f>
              <c:strCache>
                <c:ptCount val="466"/>
                <c:pt idx="0">
                  <c:v>1985-01-31</c:v>
                </c:pt>
                <c:pt idx="1">
                  <c:v>1985-02-28</c:v>
                </c:pt>
                <c:pt idx="2">
                  <c:v>1985-03-31</c:v>
                </c:pt>
                <c:pt idx="3">
                  <c:v>1985-04-30</c:v>
                </c:pt>
                <c:pt idx="4">
                  <c:v>1985-05-31</c:v>
                </c:pt>
                <c:pt idx="5">
                  <c:v>1985-06-30</c:v>
                </c:pt>
                <c:pt idx="6">
                  <c:v>1985-07-31</c:v>
                </c:pt>
                <c:pt idx="7">
                  <c:v>1985-08-31</c:v>
                </c:pt>
                <c:pt idx="8">
                  <c:v>1985-09-30</c:v>
                </c:pt>
                <c:pt idx="9">
                  <c:v>1985-10-31</c:v>
                </c:pt>
                <c:pt idx="10">
                  <c:v>1985-11-30</c:v>
                </c:pt>
                <c:pt idx="11">
                  <c:v>1985-12-31</c:v>
                </c:pt>
                <c:pt idx="12">
                  <c:v>1986-01-31</c:v>
                </c:pt>
                <c:pt idx="13">
                  <c:v>1986-02-28</c:v>
                </c:pt>
                <c:pt idx="14">
                  <c:v>1986-03-31</c:v>
                </c:pt>
                <c:pt idx="15">
                  <c:v>1986-04-30</c:v>
                </c:pt>
                <c:pt idx="16">
                  <c:v>1986-05-31</c:v>
                </c:pt>
                <c:pt idx="17">
                  <c:v>1986-06-30</c:v>
                </c:pt>
                <c:pt idx="18">
                  <c:v>1986-07-31</c:v>
                </c:pt>
                <c:pt idx="19">
                  <c:v>1986-08-31</c:v>
                </c:pt>
                <c:pt idx="20">
                  <c:v>1986-09-30</c:v>
                </c:pt>
                <c:pt idx="21">
                  <c:v>1986-10-31</c:v>
                </c:pt>
                <c:pt idx="22">
                  <c:v>1986-11-30</c:v>
                </c:pt>
                <c:pt idx="23">
                  <c:v>1986-12-31</c:v>
                </c:pt>
                <c:pt idx="24">
                  <c:v>1987-01-31</c:v>
                </c:pt>
                <c:pt idx="25">
                  <c:v>1987-02-28</c:v>
                </c:pt>
                <c:pt idx="26">
                  <c:v>1987-03-31</c:v>
                </c:pt>
                <c:pt idx="27">
                  <c:v>1987-04-30</c:v>
                </c:pt>
                <c:pt idx="28">
                  <c:v>1987-05-31</c:v>
                </c:pt>
                <c:pt idx="29">
                  <c:v>1987-06-30</c:v>
                </c:pt>
                <c:pt idx="30">
                  <c:v>1987-07-31</c:v>
                </c:pt>
                <c:pt idx="31">
                  <c:v>1987-08-31</c:v>
                </c:pt>
                <c:pt idx="32">
                  <c:v>1987-09-30</c:v>
                </c:pt>
                <c:pt idx="33">
                  <c:v>1987-10-31</c:v>
                </c:pt>
                <c:pt idx="34">
                  <c:v>1987-11-30</c:v>
                </c:pt>
                <c:pt idx="35">
                  <c:v>1987-12-31</c:v>
                </c:pt>
                <c:pt idx="36">
                  <c:v>1988-01-31</c:v>
                </c:pt>
                <c:pt idx="37">
                  <c:v>1988-02-29</c:v>
                </c:pt>
                <c:pt idx="38">
                  <c:v>1988-03-31</c:v>
                </c:pt>
                <c:pt idx="39">
                  <c:v>1988-04-30</c:v>
                </c:pt>
                <c:pt idx="40">
                  <c:v>1988-05-31</c:v>
                </c:pt>
                <c:pt idx="41">
                  <c:v>1988-06-30</c:v>
                </c:pt>
                <c:pt idx="42">
                  <c:v>1988-07-31</c:v>
                </c:pt>
                <c:pt idx="43">
                  <c:v>1988-08-31</c:v>
                </c:pt>
                <c:pt idx="44">
                  <c:v>1988-09-30</c:v>
                </c:pt>
                <c:pt idx="45">
                  <c:v>1988-10-31</c:v>
                </c:pt>
                <c:pt idx="46">
                  <c:v>1988-11-30</c:v>
                </c:pt>
                <c:pt idx="47">
                  <c:v>1988-12-31</c:v>
                </c:pt>
                <c:pt idx="48">
                  <c:v>1989-01-31</c:v>
                </c:pt>
                <c:pt idx="49">
                  <c:v>1989-02-28</c:v>
                </c:pt>
                <c:pt idx="50">
                  <c:v>1989-03-31</c:v>
                </c:pt>
                <c:pt idx="51">
                  <c:v>1989-04-30</c:v>
                </c:pt>
                <c:pt idx="52">
                  <c:v>1989-05-31</c:v>
                </c:pt>
                <c:pt idx="53">
                  <c:v>1989-06-30</c:v>
                </c:pt>
                <c:pt idx="54">
                  <c:v>1989-07-31</c:v>
                </c:pt>
                <c:pt idx="55">
                  <c:v>1989-08-31</c:v>
                </c:pt>
                <c:pt idx="56">
                  <c:v>1989-09-30</c:v>
                </c:pt>
                <c:pt idx="57">
                  <c:v>1989-10-31</c:v>
                </c:pt>
                <c:pt idx="58">
                  <c:v>1989-11-30</c:v>
                </c:pt>
                <c:pt idx="59">
                  <c:v>1989-12-31</c:v>
                </c:pt>
                <c:pt idx="60">
                  <c:v>1990-01-31</c:v>
                </c:pt>
                <c:pt idx="61">
                  <c:v>1990-02-28</c:v>
                </c:pt>
                <c:pt idx="62">
                  <c:v>1990-03-31</c:v>
                </c:pt>
                <c:pt idx="63">
                  <c:v>1990-04-30</c:v>
                </c:pt>
                <c:pt idx="64">
                  <c:v>1990-05-31</c:v>
                </c:pt>
                <c:pt idx="65">
                  <c:v>1990-06-30</c:v>
                </c:pt>
                <c:pt idx="66">
                  <c:v>1990-07-31</c:v>
                </c:pt>
                <c:pt idx="67">
                  <c:v>1990-08-31</c:v>
                </c:pt>
                <c:pt idx="68">
                  <c:v>1990-09-30</c:v>
                </c:pt>
                <c:pt idx="69">
                  <c:v>1990-10-31</c:v>
                </c:pt>
                <c:pt idx="70">
                  <c:v>1990-11-30</c:v>
                </c:pt>
                <c:pt idx="71">
                  <c:v>1990-12-31</c:v>
                </c:pt>
                <c:pt idx="72">
                  <c:v>1991-01-31</c:v>
                </c:pt>
                <c:pt idx="73">
                  <c:v>1991-02-28</c:v>
                </c:pt>
                <c:pt idx="74">
                  <c:v>1991-03-31</c:v>
                </c:pt>
                <c:pt idx="75">
                  <c:v>1991-04-30</c:v>
                </c:pt>
                <c:pt idx="76">
                  <c:v>1991-05-31</c:v>
                </c:pt>
                <c:pt idx="77">
                  <c:v>1991-06-30</c:v>
                </c:pt>
                <c:pt idx="78">
                  <c:v>1991-07-31</c:v>
                </c:pt>
                <c:pt idx="79">
                  <c:v>1991-08-31</c:v>
                </c:pt>
                <c:pt idx="80">
                  <c:v>1991-09-30</c:v>
                </c:pt>
                <c:pt idx="81">
                  <c:v>1991-10-31</c:v>
                </c:pt>
                <c:pt idx="82">
                  <c:v>1991-11-30</c:v>
                </c:pt>
                <c:pt idx="83">
                  <c:v>1991-12-31</c:v>
                </c:pt>
                <c:pt idx="84">
                  <c:v>1992-01-31</c:v>
                </c:pt>
                <c:pt idx="85">
                  <c:v>1992-02-29</c:v>
                </c:pt>
                <c:pt idx="86">
                  <c:v>1992-03-31</c:v>
                </c:pt>
                <c:pt idx="87">
                  <c:v>1992-04-30</c:v>
                </c:pt>
                <c:pt idx="88">
                  <c:v>1992-05-31</c:v>
                </c:pt>
                <c:pt idx="89">
                  <c:v>1992-06-30</c:v>
                </c:pt>
                <c:pt idx="90">
                  <c:v>1992-07-31</c:v>
                </c:pt>
                <c:pt idx="91">
                  <c:v>1992-08-31</c:v>
                </c:pt>
                <c:pt idx="92">
                  <c:v>1992-09-30</c:v>
                </c:pt>
                <c:pt idx="93">
                  <c:v>1992-10-31</c:v>
                </c:pt>
                <c:pt idx="94">
                  <c:v>1992-11-30</c:v>
                </c:pt>
                <c:pt idx="95">
                  <c:v>1992-12-31</c:v>
                </c:pt>
                <c:pt idx="96">
                  <c:v>1993-01-31</c:v>
                </c:pt>
                <c:pt idx="97">
                  <c:v>1993-02-28</c:v>
                </c:pt>
                <c:pt idx="98">
                  <c:v>1993-03-31</c:v>
                </c:pt>
                <c:pt idx="99">
                  <c:v>1993-04-30</c:v>
                </c:pt>
                <c:pt idx="100">
                  <c:v>1993-05-31</c:v>
                </c:pt>
                <c:pt idx="101">
                  <c:v>1993-06-30</c:v>
                </c:pt>
                <c:pt idx="102">
                  <c:v>1993-07-31</c:v>
                </c:pt>
                <c:pt idx="103">
                  <c:v>1993-08-31</c:v>
                </c:pt>
                <c:pt idx="104">
                  <c:v>1993-09-30</c:v>
                </c:pt>
                <c:pt idx="105">
                  <c:v>1993-10-31</c:v>
                </c:pt>
                <c:pt idx="106">
                  <c:v>1993-11-30</c:v>
                </c:pt>
                <c:pt idx="107">
                  <c:v>1993-12-31</c:v>
                </c:pt>
                <c:pt idx="108">
                  <c:v>1994-01-31</c:v>
                </c:pt>
                <c:pt idx="109">
                  <c:v>1994-02-28</c:v>
                </c:pt>
                <c:pt idx="110">
                  <c:v>1994-03-31</c:v>
                </c:pt>
                <c:pt idx="111">
                  <c:v>1994-04-30</c:v>
                </c:pt>
                <c:pt idx="112">
                  <c:v>1994-05-31</c:v>
                </c:pt>
                <c:pt idx="113">
                  <c:v>1994-06-30</c:v>
                </c:pt>
                <c:pt idx="114">
                  <c:v>1994-07-31</c:v>
                </c:pt>
                <c:pt idx="115">
                  <c:v>1994-08-31</c:v>
                </c:pt>
                <c:pt idx="116">
                  <c:v>1994-09-30</c:v>
                </c:pt>
                <c:pt idx="117">
                  <c:v>1994-10-31</c:v>
                </c:pt>
                <c:pt idx="118">
                  <c:v>1994-11-30</c:v>
                </c:pt>
                <c:pt idx="119">
                  <c:v>1994-12-31</c:v>
                </c:pt>
                <c:pt idx="120">
                  <c:v>1995-01-31</c:v>
                </c:pt>
                <c:pt idx="121">
                  <c:v>1995-02-28</c:v>
                </c:pt>
                <c:pt idx="122">
                  <c:v>1995-03-31</c:v>
                </c:pt>
                <c:pt idx="123">
                  <c:v>1995-04-30</c:v>
                </c:pt>
                <c:pt idx="124">
                  <c:v>1995-05-31</c:v>
                </c:pt>
                <c:pt idx="125">
                  <c:v>1995-06-30</c:v>
                </c:pt>
                <c:pt idx="126">
                  <c:v>1995-07-31</c:v>
                </c:pt>
                <c:pt idx="127">
                  <c:v>1995-08-31</c:v>
                </c:pt>
                <c:pt idx="128">
                  <c:v>1995-09-30</c:v>
                </c:pt>
                <c:pt idx="129">
                  <c:v>1995-10-31</c:v>
                </c:pt>
                <c:pt idx="130">
                  <c:v>1995-11-30</c:v>
                </c:pt>
                <c:pt idx="131">
                  <c:v>1995-12-31</c:v>
                </c:pt>
                <c:pt idx="132">
                  <c:v>1996-01-31</c:v>
                </c:pt>
                <c:pt idx="133">
                  <c:v>1996-02-29</c:v>
                </c:pt>
                <c:pt idx="134">
                  <c:v>1996-03-31</c:v>
                </c:pt>
                <c:pt idx="135">
                  <c:v>1996-04-30</c:v>
                </c:pt>
                <c:pt idx="136">
                  <c:v>1996-05-31</c:v>
                </c:pt>
                <c:pt idx="137">
                  <c:v>1996-06-30</c:v>
                </c:pt>
                <c:pt idx="138">
                  <c:v>1996-07-31</c:v>
                </c:pt>
                <c:pt idx="139">
                  <c:v>1996-08-31</c:v>
                </c:pt>
                <c:pt idx="140">
                  <c:v>1996-09-30</c:v>
                </c:pt>
                <c:pt idx="141">
                  <c:v>1996-10-31</c:v>
                </c:pt>
                <c:pt idx="142">
                  <c:v>1996-11-30</c:v>
                </c:pt>
                <c:pt idx="143">
                  <c:v>1996-12-31</c:v>
                </c:pt>
                <c:pt idx="144">
                  <c:v>1997-01-31</c:v>
                </c:pt>
                <c:pt idx="145">
                  <c:v>1997-02-28</c:v>
                </c:pt>
                <c:pt idx="146">
                  <c:v>1997-03-31</c:v>
                </c:pt>
                <c:pt idx="147">
                  <c:v>1997-04-30</c:v>
                </c:pt>
                <c:pt idx="148">
                  <c:v>1997-05-31</c:v>
                </c:pt>
                <c:pt idx="149">
                  <c:v>1997-06-30</c:v>
                </c:pt>
                <c:pt idx="150">
                  <c:v>1997-07-31</c:v>
                </c:pt>
                <c:pt idx="151">
                  <c:v>1997-08-31</c:v>
                </c:pt>
                <c:pt idx="152">
                  <c:v>1997-09-30</c:v>
                </c:pt>
                <c:pt idx="153">
                  <c:v>1997-10-31</c:v>
                </c:pt>
                <c:pt idx="154">
                  <c:v>1997-11-30</c:v>
                </c:pt>
                <c:pt idx="155">
                  <c:v>1997-12-31</c:v>
                </c:pt>
                <c:pt idx="156">
                  <c:v>1998-01-31</c:v>
                </c:pt>
                <c:pt idx="157">
                  <c:v>1998-02-28</c:v>
                </c:pt>
                <c:pt idx="158">
                  <c:v>1998-03-31</c:v>
                </c:pt>
                <c:pt idx="159">
                  <c:v>1998-04-30</c:v>
                </c:pt>
                <c:pt idx="160">
                  <c:v>1998-05-31</c:v>
                </c:pt>
                <c:pt idx="161">
                  <c:v>1998-06-30</c:v>
                </c:pt>
                <c:pt idx="162">
                  <c:v>1998-07-31</c:v>
                </c:pt>
                <c:pt idx="163">
                  <c:v>1998-08-31</c:v>
                </c:pt>
                <c:pt idx="164">
                  <c:v>1998-09-30</c:v>
                </c:pt>
                <c:pt idx="165">
                  <c:v>1998-10-31</c:v>
                </c:pt>
                <c:pt idx="166">
                  <c:v>1998-11-30</c:v>
                </c:pt>
                <c:pt idx="167">
                  <c:v>1998-12-31</c:v>
                </c:pt>
                <c:pt idx="168">
                  <c:v>1999-01-31</c:v>
                </c:pt>
                <c:pt idx="169">
                  <c:v>1999-02-28</c:v>
                </c:pt>
                <c:pt idx="170">
                  <c:v>1999-03-31</c:v>
                </c:pt>
                <c:pt idx="171">
                  <c:v>1999-04-30</c:v>
                </c:pt>
                <c:pt idx="172">
                  <c:v>1999-05-31</c:v>
                </c:pt>
                <c:pt idx="173">
                  <c:v>1999-06-30</c:v>
                </c:pt>
                <c:pt idx="174">
                  <c:v>1999-07-31</c:v>
                </c:pt>
                <c:pt idx="175">
                  <c:v>1999-08-31</c:v>
                </c:pt>
                <c:pt idx="176">
                  <c:v>1999-09-30</c:v>
                </c:pt>
                <c:pt idx="177">
                  <c:v>1999-10-31</c:v>
                </c:pt>
                <c:pt idx="178">
                  <c:v>1999-11-30</c:v>
                </c:pt>
                <c:pt idx="179">
                  <c:v>1999-12-31</c:v>
                </c:pt>
                <c:pt idx="180">
                  <c:v>2000-01-31</c:v>
                </c:pt>
                <c:pt idx="181">
                  <c:v>2000-02-29</c:v>
                </c:pt>
                <c:pt idx="182">
                  <c:v>2000-03-31</c:v>
                </c:pt>
                <c:pt idx="183">
                  <c:v>2000-04-30</c:v>
                </c:pt>
                <c:pt idx="184">
                  <c:v>2000-05-31</c:v>
                </c:pt>
                <c:pt idx="185">
                  <c:v>2000-06-30</c:v>
                </c:pt>
                <c:pt idx="186">
                  <c:v>2000-07-31</c:v>
                </c:pt>
                <c:pt idx="187">
                  <c:v>2000-08-31</c:v>
                </c:pt>
                <c:pt idx="188">
                  <c:v>2000-09-30</c:v>
                </c:pt>
                <c:pt idx="189">
                  <c:v>2000-10-31</c:v>
                </c:pt>
                <c:pt idx="190">
                  <c:v>2000-11-30</c:v>
                </c:pt>
                <c:pt idx="191">
                  <c:v>2000-12-31</c:v>
                </c:pt>
                <c:pt idx="192">
                  <c:v>2001-01-31</c:v>
                </c:pt>
                <c:pt idx="193">
                  <c:v>2001-02-28</c:v>
                </c:pt>
                <c:pt idx="194">
                  <c:v>2001-03-31</c:v>
                </c:pt>
                <c:pt idx="195">
                  <c:v>2001-04-30</c:v>
                </c:pt>
                <c:pt idx="196">
                  <c:v>2001-05-31</c:v>
                </c:pt>
                <c:pt idx="197">
                  <c:v>2001-06-30</c:v>
                </c:pt>
                <c:pt idx="198">
                  <c:v>2001-07-31</c:v>
                </c:pt>
                <c:pt idx="199">
                  <c:v>2001-08-31</c:v>
                </c:pt>
                <c:pt idx="200">
                  <c:v>2001-09-30</c:v>
                </c:pt>
                <c:pt idx="201">
                  <c:v>2001-10-31</c:v>
                </c:pt>
                <c:pt idx="202">
                  <c:v>2001-11-30</c:v>
                </c:pt>
                <c:pt idx="203">
                  <c:v>2001-12-31</c:v>
                </c:pt>
                <c:pt idx="204">
                  <c:v>2002-01-31</c:v>
                </c:pt>
                <c:pt idx="205">
                  <c:v>2002-02-28</c:v>
                </c:pt>
                <c:pt idx="206">
                  <c:v>2002-03-31</c:v>
                </c:pt>
                <c:pt idx="207">
                  <c:v>2002-04-30</c:v>
                </c:pt>
                <c:pt idx="208">
                  <c:v>2002-05-31</c:v>
                </c:pt>
                <c:pt idx="209">
                  <c:v>2002-06-30</c:v>
                </c:pt>
                <c:pt idx="210">
                  <c:v>2002-07-31</c:v>
                </c:pt>
                <c:pt idx="211">
                  <c:v>2002-08-31</c:v>
                </c:pt>
                <c:pt idx="212">
                  <c:v>2002-09-30</c:v>
                </c:pt>
                <c:pt idx="213">
                  <c:v>2002-10-31</c:v>
                </c:pt>
                <c:pt idx="214">
                  <c:v>2002-11-30</c:v>
                </c:pt>
                <c:pt idx="215">
                  <c:v>2002-12-31</c:v>
                </c:pt>
                <c:pt idx="216">
                  <c:v>2003-01-31</c:v>
                </c:pt>
                <c:pt idx="217">
                  <c:v>2003-02-28</c:v>
                </c:pt>
                <c:pt idx="218">
                  <c:v>2003-03-31</c:v>
                </c:pt>
                <c:pt idx="219">
                  <c:v>2003-04-30</c:v>
                </c:pt>
                <c:pt idx="220">
                  <c:v>2003-05-31</c:v>
                </c:pt>
                <c:pt idx="221">
                  <c:v>2003-06-30</c:v>
                </c:pt>
                <c:pt idx="222">
                  <c:v>2003-07-31</c:v>
                </c:pt>
                <c:pt idx="223">
                  <c:v>2003-08-31</c:v>
                </c:pt>
                <c:pt idx="224">
                  <c:v>2003-09-30</c:v>
                </c:pt>
                <c:pt idx="225">
                  <c:v>2003-10-31</c:v>
                </c:pt>
                <c:pt idx="226">
                  <c:v>2003-11-30</c:v>
                </c:pt>
                <c:pt idx="227">
                  <c:v>2003-12-31</c:v>
                </c:pt>
                <c:pt idx="228">
                  <c:v>2004-01-31</c:v>
                </c:pt>
                <c:pt idx="229">
                  <c:v>2004-02-29</c:v>
                </c:pt>
                <c:pt idx="230">
                  <c:v>2004-03-31</c:v>
                </c:pt>
                <c:pt idx="231">
                  <c:v>2004-04-30</c:v>
                </c:pt>
                <c:pt idx="232">
                  <c:v>2004-05-31</c:v>
                </c:pt>
                <c:pt idx="233">
                  <c:v>2004-06-30</c:v>
                </c:pt>
                <c:pt idx="234">
                  <c:v>2004-07-31</c:v>
                </c:pt>
                <c:pt idx="235">
                  <c:v>2004-08-31</c:v>
                </c:pt>
                <c:pt idx="236">
                  <c:v>2004-09-30</c:v>
                </c:pt>
                <c:pt idx="237">
                  <c:v>2004-10-31</c:v>
                </c:pt>
                <c:pt idx="238">
                  <c:v>2004-11-30</c:v>
                </c:pt>
                <c:pt idx="239">
                  <c:v>2004-12-31</c:v>
                </c:pt>
                <c:pt idx="240">
                  <c:v>2005-01-31</c:v>
                </c:pt>
                <c:pt idx="241">
                  <c:v>2005-02-28</c:v>
                </c:pt>
                <c:pt idx="242">
                  <c:v>2005-03-31</c:v>
                </c:pt>
                <c:pt idx="243">
                  <c:v>2005-04-30</c:v>
                </c:pt>
                <c:pt idx="244">
                  <c:v>2005-05-31</c:v>
                </c:pt>
                <c:pt idx="245">
                  <c:v>2005-06-30</c:v>
                </c:pt>
                <c:pt idx="246">
                  <c:v>2005-07-31</c:v>
                </c:pt>
                <c:pt idx="247">
                  <c:v>2005-08-31</c:v>
                </c:pt>
                <c:pt idx="248">
                  <c:v>2005-09-30</c:v>
                </c:pt>
                <c:pt idx="249">
                  <c:v>2005-10-31</c:v>
                </c:pt>
                <c:pt idx="250">
                  <c:v>2005-11-30</c:v>
                </c:pt>
                <c:pt idx="251">
                  <c:v>2005-12-31</c:v>
                </c:pt>
                <c:pt idx="252">
                  <c:v>2006-01-31</c:v>
                </c:pt>
                <c:pt idx="253">
                  <c:v>2006-02-28</c:v>
                </c:pt>
                <c:pt idx="254">
                  <c:v>2006-03-31</c:v>
                </c:pt>
                <c:pt idx="255">
                  <c:v>2006-04-30</c:v>
                </c:pt>
                <c:pt idx="256">
                  <c:v>2006-05-31</c:v>
                </c:pt>
                <c:pt idx="257">
                  <c:v>2006-06-30</c:v>
                </c:pt>
                <c:pt idx="258">
                  <c:v>2006-07-31</c:v>
                </c:pt>
                <c:pt idx="259">
                  <c:v>2006-08-31</c:v>
                </c:pt>
                <c:pt idx="260">
                  <c:v>2006-09-30</c:v>
                </c:pt>
                <c:pt idx="261">
                  <c:v>2006-10-31</c:v>
                </c:pt>
                <c:pt idx="262">
                  <c:v>2006-11-30</c:v>
                </c:pt>
                <c:pt idx="263">
                  <c:v>2006-12-31</c:v>
                </c:pt>
                <c:pt idx="264">
                  <c:v>2007-01-31</c:v>
                </c:pt>
                <c:pt idx="265">
                  <c:v>2007-02-28</c:v>
                </c:pt>
                <c:pt idx="266">
                  <c:v>2007-03-31</c:v>
                </c:pt>
                <c:pt idx="267">
                  <c:v>2007-04-30</c:v>
                </c:pt>
                <c:pt idx="268">
                  <c:v>2007-05-31</c:v>
                </c:pt>
                <c:pt idx="269">
                  <c:v>2007-06-30</c:v>
                </c:pt>
                <c:pt idx="270">
                  <c:v>2007-07-31</c:v>
                </c:pt>
                <c:pt idx="271">
                  <c:v>2007-08-31</c:v>
                </c:pt>
                <c:pt idx="272">
                  <c:v>2007-09-30</c:v>
                </c:pt>
                <c:pt idx="273">
                  <c:v>2007-10-31</c:v>
                </c:pt>
                <c:pt idx="274">
                  <c:v>2007-11-30</c:v>
                </c:pt>
                <c:pt idx="275">
                  <c:v>2007-12-31</c:v>
                </c:pt>
                <c:pt idx="276">
                  <c:v>2008-01-31</c:v>
                </c:pt>
                <c:pt idx="277">
                  <c:v>2008-02-29</c:v>
                </c:pt>
                <c:pt idx="278">
                  <c:v>2008-03-31</c:v>
                </c:pt>
                <c:pt idx="279">
                  <c:v>2008-04-30</c:v>
                </c:pt>
                <c:pt idx="280">
                  <c:v>2008-05-31</c:v>
                </c:pt>
                <c:pt idx="281">
                  <c:v>2008-06-30</c:v>
                </c:pt>
                <c:pt idx="282">
                  <c:v>2008-07-31</c:v>
                </c:pt>
                <c:pt idx="283">
                  <c:v>2008-08-31</c:v>
                </c:pt>
                <c:pt idx="284">
                  <c:v>2008-09-30</c:v>
                </c:pt>
                <c:pt idx="285">
                  <c:v>2008-10-31</c:v>
                </c:pt>
                <c:pt idx="286">
                  <c:v>2008-11-30</c:v>
                </c:pt>
                <c:pt idx="287">
                  <c:v>2008-12-31</c:v>
                </c:pt>
                <c:pt idx="288">
                  <c:v>2009-01-31</c:v>
                </c:pt>
                <c:pt idx="289">
                  <c:v>2009-02-28</c:v>
                </c:pt>
                <c:pt idx="290">
                  <c:v>2009-03-31</c:v>
                </c:pt>
                <c:pt idx="291">
                  <c:v>2009-04-30</c:v>
                </c:pt>
                <c:pt idx="292">
                  <c:v>2009-05-31</c:v>
                </c:pt>
                <c:pt idx="293">
                  <c:v>2009-06-30</c:v>
                </c:pt>
                <c:pt idx="294">
                  <c:v>2009-07-31</c:v>
                </c:pt>
                <c:pt idx="295">
                  <c:v>2009-08-31</c:v>
                </c:pt>
                <c:pt idx="296">
                  <c:v>2009-09-30</c:v>
                </c:pt>
                <c:pt idx="297">
                  <c:v>2009-10-31</c:v>
                </c:pt>
                <c:pt idx="298">
                  <c:v>2009-11-30</c:v>
                </c:pt>
                <c:pt idx="299">
                  <c:v>2009-12-31</c:v>
                </c:pt>
                <c:pt idx="300">
                  <c:v>2010-01-31</c:v>
                </c:pt>
                <c:pt idx="301">
                  <c:v>2010-02-28</c:v>
                </c:pt>
                <c:pt idx="302">
                  <c:v>2010-03-31</c:v>
                </c:pt>
                <c:pt idx="303">
                  <c:v>2010-04-30</c:v>
                </c:pt>
                <c:pt idx="304">
                  <c:v>2010-05-31</c:v>
                </c:pt>
                <c:pt idx="305">
                  <c:v>2010-06-30</c:v>
                </c:pt>
                <c:pt idx="306">
                  <c:v>2010-07-31</c:v>
                </c:pt>
                <c:pt idx="307">
                  <c:v>2010-08-31</c:v>
                </c:pt>
                <c:pt idx="308">
                  <c:v>2010-09-30</c:v>
                </c:pt>
                <c:pt idx="309">
                  <c:v>2010-10-31</c:v>
                </c:pt>
                <c:pt idx="310">
                  <c:v>2010-11-30</c:v>
                </c:pt>
                <c:pt idx="311">
                  <c:v>2010-12-31</c:v>
                </c:pt>
                <c:pt idx="312">
                  <c:v>2011-01-31</c:v>
                </c:pt>
                <c:pt idx="313">
                  <c:v>2011-02-28</c:v>
                </c:pt>
                <c:pt idx="314">
                  <c:v>2011-03-31</c:v>
                </c:pt>
                <c:pt idx="315">
                  <c:v>2011-04-30</c:v>
                </c:pt>
                <c:pt idx="316">
                  <c:v>2011-05-31</c:v>
                </c:pt>
                <c:pt idx="317">
                  <c:v>2011-06-30</c:v>
                </c:pt>
                <c:pt idx="318">
                  <c:v>2011-07-31</c:v>
                </c:pt>
                <c:pt idx="319">
                  <c:v>2011-08-31</c:v>
                </c:pt>
                <c:pt idx="320">
                  <c:v>2011-09-30</c:v>
                </c:pt>
                <c:pt idx="321">
                  <c:v>2011-10-31</c:v>
                </c:pt>
                <c:pt idx="322">
                  <c:v>2011-11-30</c:v>
                </c:pt>
                <c:pt idx="323">
                  <c:v>2011-12-31</c:v>
                </c:pt>
                <c:pt idx="324">
                  <c:v>2012-01-31</c:v>
                </c:pt>
                <c:pt idx="325">
                  <c:v>2012-02-29</c:v>
                </c:pt>
                <c:pt idx="326">
                  <c:v>2012-03-31</c:v>
                </c:pt>
                <c:pt idx="327">
                  <c:v>2012-04-30</c:v>
                </c:pt>
                <c:pt idx="328">
                  <c:v>2012-05-31</c:v>
                </c:pt>
                <c:pt idx="329">
                  <c:v>2012-06-30</c:v>
                </c:pt>
                <c:pt idx="330">
                  <c:v>2012-07-31</c:v>
                </c:pt>
                <c:pt idx="331">
                  <c:v>2012-08-31</c:v>
                </c:pt>
                <c:pt idx="332">
                  <c:v>2012-09-30</c:v>
                </c:pt>
                <c:pt idx="333">
                  <c:v>2012-10-31</c:v>
                </c:pt>
                <c:pt idx="334">
                  <c:v>2012-11-30</c:v>
                </c:pt>
                <c:pt idx="335">
                  <c:v>2012-12-31</c:v>
                </c:pt>
                <c:pt idx="336">
                  <c:v>2013-01-31</c:v>
                </c:pt>
                <c:pt idx="337">
                  <c:v>2013-02-28</c:v>
                </c:pt>
                <c:pt idx="338">
                  <c:v>2013-03-31</c:v>
                </c:pt>
                <c:pt idx="339">
                  <c:v>2013-04-30</c:v>
                </c:pt>
                <c:pt idx="340">
                  <c:v>2013-05-31</c:v>
                </c:pt>
                <c:pt idx="341">
                  <c:v>2013-06-30</c:v>
                </c:pt>
                <c:pt idx="342">
                  <c:v>2013-07-31</c:v>
                </c:pt>
                <c:pt idx="343">
                  <c:v>2013-08-31</c:v>
                </c:pt>
                <c:pt idx="344">
                  <c:v>2013-09-30</c:v>
                </c:pt>
                <c:pt idx="345">
                  <c:v>2013-10-31</c:v>
                </c:pt>
                <c:pt idx="346">
                  <c:v>2013-11-30</c:v>
                </c:pt>
                <c:pt idx="347">
                  <c:v>2013-12-31</c:v>
                </c:pt>
                <c:pt idx="348">
                  <c:v>2014-01-31</c:v>
                </c:pt>
                <c:pt idx="349">
                  <c:v>2014-02-28</c:v>
                </c:pt>
                <c:pt idx="350">
                  <c:v>2014-03-31</c:v>
                </c:pt>
                <c:pt idx="351">
                  <c:v>2014-04-30</c:v>
                </c:pt>
                <c:pt idx="352">
                  <c:v>2014-05-31</c:v>
                </c:pt>
                <c:pt idx="353">
                  <c:v>2014-06-30</c:v>
                </c:pt>
                <c:pt idx="354">
                  <c:v>2014-07-31</c:v>
                </c:pt>
                <c:pt idx="355">
                  <c:v>2014-08-31</c:v>
                </c:pt>
                <c:pt idx="356">
                  <c:v>2014-09-30</c:v>
                </c:pt>
                <c:pt idx="357">
                  <c:v>2014-10-31</c:v>
                </c:pt>
                <c:pt idx="358">
                  <c:v>2014-11-30</c:v>
                </c:pt>
                <c:pt idx="359">
                  <c:v>2014-12-31</c:v>
                </c:pt>
                <c:pt idx="360">
                  <c:v>2015-01-31</c:v>
                </c:pt>
                <c:pt idx="361">
                  <c:v>2015-02-28</c:v>
                </c:pt>
                <c:pt idx="362">
                  <c:v>2015-03-31</c:v>
                </c:pt>
                <c:pt idx="363">
                  <c:v>2015-04-30</c:v>
                </c:pt>
                <c:pt idx="364">
                  <c:v>2015-05-31</c:v>
                </c:pt>
                <c:pt idx="365">
                  <c:v>2015-06-30</c:v>
                </c:pt>
                <c:pt idx="366">
                  <c:v>2015-07-31</c:v>
                </c:pt>
                <c:pt idx="367">
                  <c:v>2015-08-31</c:v>
                </c:pt>
                <c:pt idx="368">
                  <c:v>2015-09-30</c:v>
                </c:pt>
                <c:pt idx="369">
                  <c:v>2015-10-31</c:v>
                </c:pt>
                <c:pt idx="370">
                  <c:v>2015-11-30</c:v>
                </c:pt>
                <c:pt idx="371">
                  <c:v>2015-12-31</c:v>
                </c:pt>
                <c:pt idx="372">
                  <c:v>2016-01-31</c:v>
                </c:pt>
                <c:pt idx="373">
                  <c:v>2016-02-29</c:v>
                </c:pt>
                <c:pt idx="374">
                  <c:v>2016-03-31</c:v>
                </c:pt>
                <c:pt idx="375">
                  <c:v>2016-04-30</c:v>
                </c:pt>
                <c:pt idx="376">
                  <c:v>2016-05-31</c:v>
                </c:pt>
                <c:pt idx="377">
                  <c:v>2016-06-30</c:v>
                </c:pt>
                <c:pt idx="378">
                  <c:v>2016-07-31</c:v>
                </c:pt>
                <c:pt idx="379">
                  <c:v>2016-08-31</c:v>
                </c:pt>
                <c:pt idx="380">
                  <c:v>2016-09-30</c:v>
                </c:pt>
                <c:pt idx="381">
                  <c:v>2016-10-31</c:v>
                </c:pt>
                <c:pt idx="382">
                  <c:v>2016-11-30</c:v>
                </c:pt>
                <c:pt idx="383">
                  <c:v>2016-12-31</c:v>
                </c:pt>
                <c:pt idx="384">
                  <c:v>2017-01-31</c:v>
                </c:pt>
                <c:pt idx="385">
                  <c:v>2017-02-28</c:v>
                </c:pt>
                <c:pt idx="386">
                  <c:v>2017-03-31</c:v>
                </c:pt>
                <c:pt idx="387">
                  <c:v>2017-04-30</c:v>
                </c:pt>
                <c:pt idx="388">
                  <c:v>2017-05-31</c:v>
                </c:pt>
                <c:pt idx="389">
                  <c:v>2017-06-30</c:v>
                </c:pt>
                <c:pt idx="390">
                  <c:v>2017-07-31</c:v>
                </c:pt>
                <c:pt idx="391">
                  <c:v>2017-08-31</c:v>
                </c:pt>
                <c:pt idx="392">
                  <c:v>2017-09-30</c:v>
                </c:pt>
                <c:pt idx="393">
                  <c:v>2017-10-31</c:v>
                </c:pt>
                <c:pt idx="394">
                  <c:v>2017-11-30</c:v>
                </c:pt>
                <c:pt idx="395">
                  <c:v>2017-12-31</c:v>
                </c:pt>
                <c:pt idx="396">
                  <c:v>2018-01-31</c:v>
                </c:pt>
                <c:pt idx="397">
                  <c:v>2018-02-28</c:v>
                </c:pt>
                <c:pt idx="398">
                  <c:v>2018-03-31</c:v>
                </c:pt>
                <c:pt idx="399">
                  <c:v>2018-04-30</c:v>
                </c:pt>
                <c:pt idx="400">
                  <c:v>2018-05-31</c:v>
                </c:pt>
                <c:pt idx="401">
                  <c:v>2018-06-30</c:v>
                </c:pt>
                <c:pt idx="402">
                  <c:v>2018-07-31</c:v>
                </c:pt>
                <c:pt idx="403">
                  <c:v>2018-08-31</c:v>
                </c:pt>
                <c:pt idx="404">
                  <c:v>2018-09-30</c:v>
                </c:pt>
                <c:pt idx="405">
                  <c:v>2018-10-31</c:v>
                </c:pt>
                <c:pt idx="406">
                  <c:v>2018-11-30</c:v>
                </c:pt>
                <c:pt idx="407">
                  <c:v>2018-12-31</c:v>
                </c:pt>
                <c:pt idx="408">
                  <c:v>2019-01-31</c:v>
                </c:pt>
                <c:pt idx="409">
                  <c:v>2019-02-28</c:v>
                </c:pt>
                <c:pt idx="410">
                  <c:v>2019-03-31</c:v>
                </c:pt>
                <c:pt idx="411">
                  <c:v>2019-04-30</c:v>
                </c:pt>
                <c:pt idx="412">
                  <c:v>2019-05-31</c:v>
                </c:pt>
                <c:pt idx="413">
                  <c:v>2019-06-30</c:v>
                </c:pt>
                <c:pt idx="414">
                  <c:v>2019-07-31</c:v>
                </c:pt>
                <c:pt idx="415">
                  <c:v>2019-08-31</c:v>
                </c:pt>
                <c:pt idx="416">
                  <c:v>2019-09-30</c:v>
                </c:pt>
                <c:pt idx="417">
                  <c:v>2019-10-31</c:v>
                </c:pt>
                <c:pt idx="418">
                  <c:v>2019-11-30</c:v>
                </c:pt>
                <c:pt idx="419">
                  <c:v>2019-12-31</c:v>
                </c:pt>
                <c:pt idx="420">
                  <c:v>2020-01-31</c:v>
                </c:pt>
                <c:pt idx="421">
                  <c:v>2020-02-29</c:v>
                </c:pt>
                <c:pt idx="422">
                  <c:v>2020-03-31</c:v>
                </c:pt>
                <c:pt idx="423">
                  <c:v>2020-04-30</c:v>
                </c:pt>
                <c:pt idx="424">
                  <c:v>2020-05-31</c:v>
                </c:pt>
                <c:pt idx="425">
                  <c:v>2020-06-30</c:v>
                </c:pt>
                <c:pt idx="426">
                  <c:v>2020-07-31</c:v>
                </c:pt>
                <c:pt idx="427">
                  <c:v>2020-08-31</c:v>
                </c:pt>
                <c:pt idx="428">
                  <c:v>2020-09-30</c:v>
                </c:pt>
                <c:pt idx="429">
                  <c:v>2020-10-31</c:v>
                </c:pt>
                <c:pt idx="430">
                  <c:v>2020-11-30</c:v>
                </c:pt>
                <c:pt idx="431">
                  <c:v>2020-12-31</c:v>
                </c:pt>
                <c:pt idx="432">
                  <c:v>2021-01-31</c:v>
                </c:pt>
                <c:pt idx="433">
                  <c:v>2021-02-28</c:v>
                </c:pt>
                <c:pt idx="434">
                  <c:v>2021-03-31</c:v>
                </c:pt>
                <c:pt idx="435">
                  <c:v>2021-04-30</c:v>
                </c:pt>
                <c:pt idx="436">
                  <c:v>2021-05-31</c:v>
                </c:pt>
                <c:pt idx="437">
                  <c:v>2021-06-30</c:v>
                </c:pt>
                <c:pt idx="438">
                  <c:v>2021-07-31</c:v>
                </c:pt>
                <c:pt idx="439">
                  <c:v>2021-08-31</c:v>
                </c:pt>
                <c:pt idx="440">
                  <c:v>2021-09-30</c:v>
                </c:pt>
                <c:pt idx="441">
                  <c:v>2021-10-31</c:v>
                </c:pt>
                <c:pt idx="442">
                  <c:v>2021-11-30</c:v>
                </c:pt>
                <c:pt idx="443">
                  <c:v>2021-12-31</c:v>
                </c:pt>
                <c:pt idx="444">
                  <c:v>2022-01-31</c:v>
                </c:pt>
                <c:pt idx="445">
                  <c:v>2022-02-28</c:v>
                </c:pt>
                <c:pt idx="446">
                  <c:v>2022-03-31</c:v>
                </c:pt>
                <c:pt idx="447">
                  <c:v>2022-04-30</c:v>
                </c:pt>
                <c:pt idx="448">
                  <c:v>2022-05-31</c:v>
                </c:pt>
                <c:pt idx="449">
                  <c:v>2022-06-30</c:v>
                </c:pt>
                <c:pt idx="450">
                  <c:v>2022-07-31</c:v>
                </c:pt>
                <c:pt idx="451">
                  <c:v>2022-08-31</c:v>
                </c:pt>
                <c:pt idx="452">
                  <c:v>2022-09-30</c:v>
                </c:pt>
                <c:pt idx="453">
                  <c:v>2022-10-31</c:v>
                </c:pt>
                <c:pt idx="454">
                  <c:v>2022-11-30</c:v>
                </c:pt>
                <c:pt idx="455">
                  <c:v>2022-12-31</c:v>
                </c:pt>
                <c:pt idx="456">
                  <c:v>2023-01-31</c:v>
                </c:pt>
                <c:pt idx="457">
                  <c:v>2023-02-28</c:v>
                </c:pt>
                <c:pt idx="458">
                  <c:v>2023-03-31</c:v>
                </c:pt>
                <c:pt idx="459">
                  <c:v>2023-04-30</c:v>
                </c:pt>
                <c:pt idx="460">
                  <c:v>2023-05-31</c:v>
                </c:pt>
                <c:pt idx="461">
                  <c:v>2023-06-30</c:v>
                </c:pt>
                <c:pt idx="462">
                  <c:v>2023-07-31</c:v>
                </c:pt>
                <c:pt idx="463">
                  <c:v>2023-08-31</c:v>
                </c:pt>
                <c:pt idx="464">
                  <c:v>2023-09-30</c:v>
                </c:pt>
                <c:pt idx="465">
                  <c:v>2023-10-31</c:v>
                </c:pt>
              </c:strCache>
            </c:strRef>
          </c:cat>
          <c:val>
            <c:numRef>
              <c:f>intrate!$AM$62:$AM$527</c:f>
              <c:numCache>
                <c:formatCode>0.0</c:formatCode>
                <c:ptCount val="466"/>
                <c:pt idx="0">
                  <c:v>4.0586463725984361</c:v>
                </c:pt>
                <c:pt idx="1">
                  <c:v>3.9293476783203283</c:v>
                </c:pt>
                <c:pt idx="2">
                  <c:v>3.83494675637886</c:v>
                </c:pt>
                <c:pt idx="3">
                  <c:v>3.7396661322931757</c:v>
                </c:pt>
                <c:pt idx="4">
                  <c:v>3.693062258214745</c:v>
                </c:pt>
                <c:pt idx="5">
                  <c:v>3.6617591377077283</c:v>
                </c:pt>
                <c:pt idx="6">
                  <c:v>3.6653256990115799</c:v>
                </c:pt>
                <c:pt idx="7">
                  <c:v>3.6376019151200345</c:v>
                </c:pt>
                <c:pt idx="8">
                  <c:v>3.5441274883122702</c:v>
                </c:pt>
                <c:pt idx="9">
                  <c:v>3.467982137891672</c:v>
                </c:pt>
                <c:pt idx="10">
                  <c:v>3.4249838088413349</c:v>
                </c:pt>
                <c:pt idx="11">
                  <c:v>3.4312874527748938</c:v>
                </c:pt>
                <c:pt idx="12">
                  <c:v>3.4866176508315028</c:v>
                </c:pt>
                <c:pt idx="13">
                  <c:v>3.4472718592513516</c:v>
                </c:pt>
                <c:pt idx="14">
                  <c:v>3.2994021850658868</c:v>
                </c:pt>
                <c:pt idx="15">
                  <c:v>3.0263024160717173</c:v>
                </c:pt>
                <c:pt idx="16">
                  <c:v>2.6891984391209953</c:v>
                </c:pt>
                <c:pt idx="17">
                  <c:v>2.3503865709824034</c:v>
                </c:pt>
                <c:pt idx="18">
                  <c:v>1.9655096559768548</c:v>
                </c:pt>
                <c:pt idx="19">
                  <c:v>1.7089874104608971</c:v>
                </c:pt>
                <c:pt idx="20">
                  <c:v>1.6254452216555535</c:v>
                </c:pt>
                <c:pt idx="21">
                  <c:v>1.6057235284528109</c:v>
                </c:pt>
                <c:pt idx="22">
                  <c:v>1.5712664202848525</c:v>
                </c:pt>
                <c:pt idx="23">
                  <c:v>1.4599491608520079</c:v>
                </c:pt>
                <c:pt idx="24">
                  <c:v>1.4404257575955459</c:v>
                </c:pt>
                <c:pt idx="25">
                  <c:v>1.5287967604984161</c:v>
                </c:pt>
                <c:pt idx="26">
                  <c:v>1.741913805562054</c:v>
                </c:pt>
                <c:pt idx="27">
                  <c:v>2.1258106657711386</c:v>
                </c:pt>
                <c:pt idx="28">
                  <c:v>2.5545349393661354</c:v>
                </c:pt>
                <c:pt idx="29">
                  <c:v>2.9803803288029989</c:v>
                </c:pt>
                <c:pt idx="30">
                  <c:v>3.3915614329148078</c:v>
                </c:pt>
                <c:pt idx="31">
                  <c:v>3.7549134231357209</c:v>
                </c:pt>
                <c:pt idx="32">
                  <c:v>3.9753515303205185</c:v>
                </c:pt>
                <c:pt idx="33">
                  <c:v>4.1016464111271986</c:v>
                </c:pt>
                <c:pt idx="34">
                  <c:v>4.2136857771191361</c:v>
                </c:pt>
                <c:pt idx="35">
                  <c:v>4.3439226277427734</c:v>
                </c:pt>
                <c:pt idx="36">
                  <c:v>4.3638929528525523</c:v>
                </c:pt>
                <c:pt idx="37">
                  <c:v>4.3069330023412746</c:v>
                </c:pt>
                <c:pt idx="38">
                  <c:v>4.2351580066990451</c:v>
                </c:pt>
                <c:pt idx="39">
                  <c:v>4.1303378059237135</c:v>
                </c:pt>
                <c:pt idx="40">
                  <c:v>4.0239006398913446</c:v>
                </c:pt>
                <c:pt idx="41">
                  <c:v>3.9456287347212773</c:v>
                </c:pt>
                <c:pt idx="42">
                  <c:v>3.9595104237461549</c:v>
                </c:pt>
                <c:pt idx="43">
                  <c:v>3.9725648722844746</c:v>
                </c:pt>
                <c:pt idx="44">
                  <c:v>4.0140392287725959</c:v>
                </c:pt>
                <c:pt idx="45">
                  <c:v>4.0716413638609552</c:v>
                </c:pt>
                <c:pt idx="46">
                  <c:v>4.1309310320073704</c:v>
                </c:pt>
                <c:pt idx="47">
                  <c:v>4.2067065380045134</c:v>
                </c:pt>
                <c:pt idx="48">
                  <c:v>4.2962382289066339</c:v>
                </c:pt>
                <c:pt idx="49">
                  <c:v>4.4306727598928859</c:v>
                </c:pt>
                <c:pt idx="50">
                  <c:v>4.5647773814018775</c:v>
                </c:pt>
                <c:pt idx="51">
                  <c:v>4.7104511506677609</c:v>
                </c:pt>
                <c:pt idx="52">
                  <c:v>4.8963847519559094</c:v>
                </c:pt>
                <c:pt idx="53">
                  <c:v>5.0213982153208692</c:v>
                </c:pt>
                <c:pt idx="54">
                  <c:v>5.0733415626702767</c:v>
                </c:pt>
                <c:pt idx="55">
                  <c:v>5.0530575870110512</c:v>
                </c:pt>
                <c:pt idx="56">
                  <c:v>4.9467287270369882</c:v>
                </c:pt>
                <c:pt idx="57">
                  <c:v>4.8415098419166851</c:v>
                </c:pt>
                <c:pt idx="58">
                  <c:v>4.7237310029620661</c:v>
                </c:pt>
                <c:pt idx="59">
                  <c:v>4.6366995661521671</c:v>
                </c:pt>
                <c:pt idx="60">
                  <c:v>4.6739344303424728</c:v>
                </c:pt>
                <c:pt idx="61">
                  <c:v>4.7668136873084137</c:v>
                </c:pt>
                <c:pt idx="62">
                  <c:v>4.9155580058806123</c:v>
                </c:pt>
                <c:pt idx="63">
                  <c:v>4.9520753546625231</c:v>
                </c:pt>
                <c:pt idx="64">
                  <c:v>4.9032161707250408</c:v>
                </c:pt>
                <c:pt idx="65">
                  <c:v>4.9076074003027585</c:v>
                </c:pt>
                <c:pt idx="66">
                  <c:v>4.8444138980816902</c:v>
                </c:pt>
                <c:pt idx="67">
                  <c:v>4.9035505036405311</c:v>
                </c:pt>
                <c:pt idx="68">
                  <c:v>5.0580449162870265</c:v>
                </c:pt>
                <c:pt idx="69">
                  <c:v>5.3210769738378048</c:v>
                </c:pt>
                <c:pt idx="70">
                  <c:v>5.6399015232425667</c:v>
                </c:pt>
                <c:pt idx="71">
                  <c:v>5.8786706210960418</c:v>
                </c:pt>
                <c:pt idx="72">
                  <c:v>6.016727327825234</c:v>
                </c:pt>
                <c:pt idx="73">
                  <c:v>5.9658144064769232</c:v>
                </c:pt>
                <c:pt idx="74">
                  <c:v>5.754998555661075</c:v>
                </c:pt>
                <c:pt idx="75">
                  <c:v>5.5212820190348095</c:v>
                </c:pt>
                <c:pt idx="76">
                  <c:v>5.3010718664983969</c:v>
                </c:pt>
                <c:pt idx="77">
                  <c:v>5.0660143780421762</c:v>
                </c:pt>
                <c:pt idx="78">
                  <c:v>4.8654079438686937</c:v>
                </c:pt>
                <c:pt idx="79">
                  <c:v>4.613223293412763</c:v>
                </c:pt>
                <c:pt idx="80">
                  <c:v>4.3625571045400946</c:v>
                </c:pt>
                <c:pt idx="81">
                  <c:v>4.0348635407345741</c:v>
                </c:pt>
                <c:pt idx="82">
                  <c:v>3.7075262491190037</c:v>
                </c:pt>
                <c:pt idx="83">
                  <c:v>3.4355854322781787</c:v>
                </c:pt>
                <c:pt idx="84">
                  <c:v>3.1276595016255135</c:v>
                </c:pt>
                <c:pt idx="85">
                  <c:v>2.9642593350685806</c:v>
                </c:pt>
                <c:pt idx="86">
                  <c:v>2.929938905621301</c:v>
                </c:pt>
                <c:pt idx="87">
                  <c:v>2.9731264153170209</c:v>
                </c:pt>
                <c:pt idx="88">
                  <c:v>2.9788034483562527</c:v>
                </c:pt>
                <c:pt idx="89">
                  <c:v>2.9827968244809901</c:v>
                </c:pt>
                <c:pt idx="90">
                  <c:v>3.075600941609101</c:v>
                </c:pt>
                <c:pt idx="91">
                  <c:v>3.1304152608181539</c:v>
                </c:pt>
                <c:pt idx="92">
                  <c:v>3.0976074286905919</c:v>
                </c:pt>
                <c:pt idx="93">
                  <c:v>3.1012500276472657</c:v>
                </c:pt>
                <c:pt idx="94">
                  <c:v>3.1052994744250455</c:v>
                </c:pt>
                <c:pt idx="95">
                  <c:v>3.0740356998796963</c:v>
                </c:pt>
                <c:pt idx="96">
                  <c:v>3.0909334411647293</c:v>
                </c:pt>
                <c:pt idx="97">
                  <c:v>3.1074128134274139</c:v>
                </c:pt>
                <c:pt idx="98">
                  <c:v>3.1238335956670817</c:v>
                </c:pt>
                <c:pt idx="99">
                  <c:v>3.1277465098490467</c:v>
                </c:pt>
                <c:pt idx="100">
                  <c:v>3.1566286364878238</c:v>
                </c:pt>
                <c:pt idx="101">
                  <c:v>3.1724732619184643</c:v>
                </c:pt>
                <c:pt idx="102">
                  <c:v>3.0920219926592503</c:v>
                </c:pt>
                <c:pt idx="103">
                  <c:v>3.0122165367004947</c:v>
                </c:pt>
                <c:pt idx="104">
                  <c:v>2.9459583086140193</c:v>
                </c:pt>
                <c:pt idx="105">
                  <c:v>2.8667160015633493</c:v>
                </c:pt>
                <c:pt idx="106">
                  <c:v>2.7758606811416562</c:v>
                </c:pt>
                <c:pt idx="107">
                  <c:v>2.7346430106236519</c:v>
                </c:pt>
                <c:pt idx="108">
                  <c:v>2.6927669219202151</c:v>
                </c:pt>
                <c:pt idx="109">
                  <c:v>2.6507340484934687</c:v>
                </c:pt>
                <c:pt idx="110">
                  <c:v>2.6203424269871101</c:v>
                </c:pt>
                <c:pt idx="111">
                  <c:v>2.5554688439541522</c:v>
                </c:pt>
                <c:pt idx="112">
                  <c:v>2.4908741560858374</c:v>
                </c:pt>
                <c:pt idx="113">
                  <c:v>2.44831755873957</c:v>
                </c:pt>
                <c:pt idx="114">
                  <c:v>2.4892407125678915</c:v>
                </c:pt>
                <c:pt idx="115">
                  <c:v>2.5533789151924893</c:v>
                </c:pt>
                <c:pt idx="116">
                  <c:v>2.629463861571478</c:v>
                </c:pt>
                <c:pt idx="117">
                  <c:v>2.670628481922781</c:v>
                </c:pt>
                <c:pt idx="118">
                  <c:v>2.735029966676656</c:v>
                </c:pt>
                <c:pt idx="119">
                  <c:v>2.7653336878596213</c:v>
                </c:pt>
                <c:pt idx="120">
                  <c:v>2.7710494316073571</c:v>
                </c:pt>
                <c:pt idx="121">
                  <c:v>2.7647882980879834</c:v>
                </c:pt>
                <c:pt idx="122">
                  <c:v>2.7464195319197273</c:v>
                </c:pt>
                <c:pt idx="123">
                  <c:v>2.820555931720186</c:v>
                </c:pt>
                <c:pt idx="124">
                  <c:v>2.9058131914909424</c:v>
                </c:pt>
                <c:pt idx="125">
                  <c:v>2.9667537616907751</c:v>
                </c:pt>
                <c:pt idx="126">
                  <c:v>2.959824706611085</c:v>
                </c:pt>
                <c:pt idx="127">
                  <c:v>2.9189020365040768</c:v>
                </c:pt>
                <c:pt idx="128">
                  <c:v>2.8672764520406133</c:v>
                </c:pt>
                <c:pt idx="129">
                  <c:v>2.8266843381194939</c:v>
                </c:pt>
                <c:pt idx="130">
                  <c:v>2.7298126285987627</c:v>
                </c:pt>
                <c:pt idx="131">
                  <c:v>2.6461242307821089</c:v>
                </c:pt>
                <c:pt idx="132">
                  <c:v>2.6403032880613821</c:v>
                </c:pt>
                <c:pt idx="133">
                  <c:v>2.6458553596734666</c:v>
                </c:pt>
                <c:pt idx="134">
                  <c:v>2.6952972192886477</c:v>
                </c:pt>
                <c:pt idx="135">
                  <c:v>2.7098435492026405</c:v>
                </c:pt>
                <c:pt idx="136">
                  <c:v>2.7574639762152273</c:v>
                </c:pt>
                <c:pt idx="137">
                  <c:v>2.7934120107177427</c:v>
                </c:pt>
                <c:pt idx="138">
                  <c:v>2.8305690263767715</c:v>
                </c:pt>
                <c:pt idx="139">
                  <c:v>2.8683916509808682</c:v>
                </c:pt>
                <c:pt idx="140">
                  <c:v>2.8954670585778524</c:v>
                </c:pt>
                <c:pt idx="141">
                  <c:v>2.9115005040881976</c:v>
                </c:pt>
                <c:pt idx="142">
                  <c:v>2.9722130624908822</c:v>
                </c:pt>
                <c:pt idx="143">
                  <c:v>3.0669425973870261</c:v>
                </c:pt>
                <c:pt idx="144">
                  <c:v>3.0824795604946971</c:v>
                </c:pt>
                <c:pt idx="145">
                  <c:v>3.1085658573706851</c:v>
                </c:pt>
                <c:pt idx="146">
                  <c:v>3.0684175728329612</c:v>
                </c:pt>
                <c:pt idx="147">
                  <c:v>2.9854772952442281</c:v>
                </c:pt>
                <c:pt idx="148">
                  <c:v>2.815441508739331</c:v>
                </c:pt>
                <c:pt idx="149">
                  <c:v>2.6445928363035711</c:v>
                </c:pt>
                <c:pt idx="150">
                  <c:v>2.5088024883502626</c:v>
                </c:pt>
                <c:pt idx="151">
                  <c:v>2.3739411644520252</c:v>
                </c:pt>
                <c:pt idx="152">
                  <c:v>2.2727586394799624</c:v>
                </c:pt>
                <c:pt idx="153">
                  <c:v>2.2043332835408029</c:v>
                </c:pt>
                <c:pt idx="154">
                  <c:v>2.1365842427373067</c:v>
                </c:pt>
                <c:pt idx="155">
                  <c:v>2.0374196476161472</c:v>
                </c:pt>
                <c:pt idx="156">
                  <c:v>1.9277595505467768</c:v>
                </c:pt>
                <c:pt idx="157">
                  <c:v>1.797102063429963</c:v>
                </c:pt>
                <c:pt idx="158">
                  <c:v>1.6671643785968417</c:v>
                </c:pt>
                <c:pt idx="159">
                  <c:v>1.5590070399995071</c:v>
                </c:pt>
                <c:pt idx="160">
                  <c:v>1.5353314736303407</c:v>
                </c:pt>
                <c:pt idx="161">
                  <c:v>1.5323224560175532</c:v>
                </c:pt>
                <c:pt idx="162">
                  <c:v>1.5508064910197348</c:v>
                </c:pt>
                <c:pt idx="163">
                  <c:v>1.5801086020186237</c:v>
                </c:pt>
                <c:pt idx="164">
                  <c:v>1.5990808931683371</c:v>
                </c:pt>
                <c:pt idx="165">
                  <c:v>1.6073214175953108</c:v>
                </c:pt>
                <c:pt idx="166">
                  <c:v>1.5842450250671594</c:v>
                </c:pt>
                <c:pt idx="167">
                  <c:v>1.5721719295319119</c:v>
                </c:pt>
                <c:pt idx="168">
                  <c:v>1.5702634442908661</c:v>
                </c:pt>
                <c:pt idx="169">
                  <c:v>1.5684324715039868</c:v>
                </c:pt>
                <c:pt idx="170">
                  <c:v>1.6080041589814844</c:v>
                </c:pt>
                <c:pt idx="171">
                  <c:v>1.7399665859934146</c:v>
                </c:pt>
                <c:pt idx="172">
                  <c:v>1.8300439980522494</c:v>
                </c:pt>
                <c:pt idx="173">
                  <c:v>1.8885918144266185</c:v>
                </c:pt>
                <c:pt idx="174">
                  <c:v>1.9675611084148414</c:v>
                </c:pt>
                <c:pt idx="175">
                  <c:v>2.0773031582116084</c:v>
                </c:pt>
                <c:pt idx="176">
                  <c:v>2.2276528226161836</c:v>
                </c:pt>
                <c:pt idx="177">
                  <c:v>2.2749949114216883</c:v>
                </c:pt>
                <c:pt idx="178">
                  <c:v>2.363911433265045</c:v>
                </c:pt>
                <c:pt idx="179">
                  <c:v>2.4841403623217437</c:v>
                </c:pt>
                <c:pt idx="180">
                  <c:v>2.5831877668384302</c:v>
                </c:pt>
                <c:pt idx="181">
                  <c:v>2.742771535760987</c:v>
                </c:pt>
                <c:pt idx="182">
                  <c:v>2.9309738523251618</c:v>
                </c:pt>
                <c:pt idx="183">
                  <c:v>3.015576593659437</c:v>
                </c:pt>
                <c:pt idx="184">
                  <c:v>3.1100728906079644</c:v>
                </c:pt>
                <c:pt idx="185">
                  <c:v>3.2843864719915459</c:v>
                </c:pt>
                <c:pt idx="186">
                  <c:v>3.4377824513471062</c:v>
                </c:pt>
                <c:pt idx="187">
                  <c:v>3.4693235448080606</c:v>
                </c:pt>
                <c:pt idx="188">
                  <c:v>3.4188004460419585</c:v>
                </c:pt>
                <c:pt idx="189">
                  <c:v>3.4820810800931619</c:v>
                </c:pt>
                <c:pt idx="190">
                  <c:v>3.5249640758323864</c:v>
                </c:pt>
                <c:pt idx="191">
                  <c:v>3.4676914129109613</c:v>
                </c:pt>
                <c:pt idx="192">
                  <c:v>3.4798513032077785</c:v>
                </c:pt>
                <c:pt idx="193">
                  <c:v>3.5002576107657219</c:v>
                </c:pt>
                <c:pt idx="194">
                  <c:v>3.4112782078797892</c:v>
                </c:pt>
                <c:pt idx="195">
                  <c:v>3.3814186484592668</c:v>
                </c:pt>
                <c:pt idx="196">
                  <c:v>3.4095742108285187</c:v>
                </c:pt>
                <c:pt idx="197">
                  <c:v>3.386482642766294</c:v>
                </c:pt>
                <c:pt idx="198">
                  <c:v>3.217762629308917</c:v>
                </c:pt>
                <c:pt idx="199">
                  <c:v>3.082152379777876</c:v>
                </c:pt>
                <c:pt idx="200">
                  <c:v>3.0367662716708352</c:v>
                </c:pt>
                <c:pt idx="201">
                  <c:v>2.8463193176813966</c:v>
                </c:pt>
                <c:pt idx="202">
                  <c:v>2.5597029890296432</c:v>
                </c:pt>
                <c:pt idx="203">
                  <c:v>2.2769470352200067</c:v>
                </c:pt>
                <c:pt idx="204">
                  <c:v>2.013996543085002</c:v>
                </c:pt>
                <c:pt idx="205">
                  <c:v>1.7502880464769082</c:v>
                </c:pt>
                <c:pt idx="206">
                  <c:v>1.5548466822624245</c:v>
                </c:pt>
                <c:pt idx="207">
                  <c:v>1.4736645957100716</c:v>
                </c:pt>
                <c:pt idx="208">
                  <c:v>1.3547153698982182</c:v>
                </c:pt>
                <c:pt idx="209">
                  <c:v>1.2739973019658943</c:v>
                </c:pt>
                <c:pt idx="210">
                  <c:v>1.3277613482653952</c:v>
                </c:pt>
                <c:pt idx="211">
                  <c:v>1.4386214272069988</c:v>
                </c:pt>
                <c:pt idx="212">
                  <c:v>1.4450723980250519</c:v>
                </c:pt>
                <c:pt idx="213">
                  <c:v>1.5094960751870918</c:v>
                </c:pt>
                <c:pt idx="214">
                  <c:v>1.6789385123412852</c:v>
                </c:pt>
                <c:pt idx="215">
                  <c:v>1.8971875601147588</c:v>
                </c:pt>
                <c:pt idx="216">
                  <c:v>2.0859565376161293</c:v>
                </c:pt>
                <c:pt idx="217">
                  <c:v>2.2822999524357548</c:v>
                </c:pt>
                <c:pt idx="218">
                  <c:v>2.5332720340266164</c:v>
                </c:pt>
                <c:pt idx="219">
                  <c:v>2.5664066639088339</c:v>
                </c:pt>
                <c:pt idx="220">
                  <c:v>2.5429767306956372</c:v>
                </c:pt>
                <c:pt idx="221">
                  <c:v>2.4988724949588104</c:v>
                </c:pt>
                <c:pt idx="222">
                  <c:v>2.4176285491951526</c:v>
                </c:pt>
                <c:pt idx="223">
                  <c:v>2.2805278810232821</c:v>
                </c:pt>
                <c:pt idx="224">
                  <c:v>2.1639125078170118</c:v>
                </c:pt>
                <c:pt idx="225">
                  <c:v>2.1332662114786771</c:v>
                </c:pt>
                <c:pt idx="226">
                  <c:v>2.0844642597687297</c:v>
                </c:pt>
                <c:pt idx="227">
                  <c:v>2.045665397964278</c:v>
                </c:pt>
                <c:pt idx="228">
                  <c:v>2.0150509214677519</c:v>
                </c:pt>
                <c:pt idx="229">
                  <c:v>1.9375160078366633</c:v>
                </c:pt>
                <c:pt idx="230">
                  <c:v>1.8403160310318849</c:v>
                </c:pt>
                <c:pt idx="231">
                  <c:v>1.8810287252499407</c:v>
                </c:pt>
                <c:pt idx="232">
                  <c:v>2.0954855220344939</c:v>
                </c:pt>
                <c:pt idx="233">
                  <c:v>2.3266027639063438</c:v>
                </c:pt>
                <c:pt idx="234">
                  <c:v>2.5040200608608032</c:v>
                </c:pt>
                <c:pt idx="235">
                  <c:v>2.6642407218853088</c:v>
                </c:pt>
                <c:pt idx="236">
                  <c:v>2.7976665299053587</c:v>
                </c:pt>
                <c:pt idx="237">
                  <c:v>2.9483493127970681</c:v>
                </c:pt>
                <c:pt idx="238">
                  <c:v>3.0268933316614173</c:v>
                </c:pt>
                <c:pt idx="239">
                  <c:v>3.0251211152300734</c:v>
                </c:pt>
                <c:pt idx="240">
                  <c:v>3.0216222108031139</c:v>
                </c:pt>
                <c:pt idx="241">
                  <c:v>3.0804773660259506</c:v>
                </c:pt>
                <c:pt idx="242">
                  <c:v>3.1822355007220247</c:v>
                </c:pt>
                <c:pt idx="243">
                  <c:v>3.235810352169215</c:v>
                </c:pt>
                <c:pt idx="244">
                  <c:v>3.1157627917429687</c:v>
                </c:pt>
                <c:pt idx="245">
                  <c:v>2.994887697246734</c:v>
                </c:pt>
                <c:pt idx="246">
                  <c:v>3.0279103986196438</c:v>
                </c:pt>
                <c:pt idx="247">
                  <c:v>3.133517424098907</c:v>
                </c:pt>
                <c:pt idx="248">
                  <c:v>3.3899059931167699</c:v>
                </c:pt>
                <c:pt idx="249">
                  <c:v>3.5294372912974645</c:v>
                </c:pt>
                <c:pt idx="250">
                  <c:v>3.6382285436981499</c:v>
                </c:pt>
                <c:pt idx="251">
                  <c:v>3.7857866216361109</c:v>
                </c:pt>
                <c:pt idx="252">
                  <c:v>3.9220230591335601</c:v>
                </c:pt>
                <c:pt idx="253">
                  <c:v>3.9147457996751811</c:v>
                </c:pt>
                <c:pt idx="254">
                  <c:v>3.6940743886776062</c:v>
                </c:pt>
                <c:pt idx="255">
                  <c:v>3.560392514301332</c:v>
                </c:pt>
                <c:pt idx="256">
                  <c:v>3.6789207283792869</c:v>
                </c:pt>
                <c:pt idx="257">
                  <c:v>3.82943849201502</c:v>
                </c:pt>
                <c:pt idx="258">
                  <c:v>3.8561094310413964</c:v>
                </c:pt>
                <c:pt idx="259">
                  <c:v>3.8929827440010549</c:v>
                </c:pt>
                <c:pt idx="260">
                  <c:v>3.676270329489848</c:v>
                </c:pt>
                <c:pt idx="261">
                  <c:v>3.3028513366290611</c:v>
                </c:pt>
                <c:pt idx="262">
                  <c:v>2.9373542606056708</c:v>
                </c:pt>
                <c:pt idx="263">
                  <c:v>2.6410016505500047</c:v>
                </c:pt>
                <c:pt idx="264">
                  <c:v>2.296051663686228</c:v>
                </c:pt>
                <c:pt idx="265">
                  <c:v>2.06212858389843</c:v>
                </c:pt>
                <c:pt idx="266">
                  <c:v>2.1815293394494191</c:v>
                </c:pt>
                <c:pt idx="267">
                  <c:v>2.3929420706056397</c:v>
                </c:pt>
                <c:pt idx="268">
                  <c:v>2.5124720684397275</c:v>
                </c:pt>
                <c:pt idx="269">
                  <c:v>2.5368699923105402</c:v>
                </c:pt>
                <c:pt idx="270">
                  <c:v>2.5839679911483273</c:v>
                </c:pt>
                <c:pt idx="271">
                  <c:v>2.5097820881573369</c:v>
                </c:pt>
                <c:pt idx="272">
                  <c:v>2.5058275832992671</c:v>
                </c:pt>
                <c:pt idx="273">
                  <c:v>2.6662404432421618</c:v>
                </c:pt>
                <c:pt idx="274">
                  <c:v>2.9354636559779217</c:v>
                </c:pt>
                <c:pt idx="275">
                  <c:v>3.1678354281489667</c:v>
                </c:pt>
                <c:pt idx="276">
                  <c:v>3.4881792764273647</c:v>
                </c:pt>
                <c:pt idx="277">
                  <c:v>3.8309246162349808</c:v>
                </c:pt>
                <c:pt idx="278">
                  <c:v>4.0353253631718715</c:v>
                </c:pt>
                <c:pt idx="279">
                  <c:v>4.1021112539549831</c:v>
                </c:pt>
                <c:pt idx="280">
                  <c:v>4.0803345152646671</c:v>
                </c:pt>
                <c:pt idx="281">
                  <c:v>4.2370880927407581</c:v>
                </c:pt>
                <c:pt idx="282">
                  <c:v>4.4570595681328582</c:v>
                </c:pt>
                <c:pt idx="283">
                  <c:v>4.6812761851684614</c:v>
                </c:pt>
                <c:pt idx="284">
                  <c:v>4.8405213850552116</c:v>
                </c:pt>
                <c:pt idx="285">
                  <c:v>4.7935708021068777</c:v>
                </c:pt>
                <c:pt idx="286">
                  <c:v>4.2759094104408559</c:v>
                </c:pt>
                <c:pt idx="287">
                  <c:v>3.4541798859464996</c:v>
                </c:pt>
                <c:pt idx="288">
                  <c:v>2.5258004865200547</c:v>
                </c:pt>
                <c:pt idx="289">
                  <c:v>1.6698564819826416</c:v>
                </c:pt>
                <c:pt idx="290">
                  <c:v>0.78310920106771198</c:v>
                </c:pt>
                <c:pt idx="291">
                  <c:v>5.109720234200902E-2</c:v>
                </c:pt>
                <c:pt idx="292">
                  <c:v>-0.34073787945232442</c:v>
                </c:pt>
                <c:pt idx="293">
                  <c:v>-0.59376937017490405</c:v>
                </c:pt>
                <c:pt idx="294">
                  <c:v>-0.94827067973679391</c:v>
                </c:pt>
                <c:pt idx="295">
                  <c:v>-1.2350272964032076</c:v>
                </c:pt>
                <c:pt idx="296">
                  <c:v>-1.3854689150241011</c:v>
                </c:pt>
                <c:pt idx="297">
                  <c:v>-1.2931293420690035</c:v>
                </c:pt>
                <c:pt idx="298">
                  <c:v>-0.77317406405418632</c:v>
                </c:pt>
                <c:pt idx="299">
                  <c:v>-8.1822869071570395E-2</c:v>
                </c:pt>
                <c:pt idx="300">
                  <c:v>0.70532213036737568</c:v>
                </c:pt>
                <c:pt idx="301">
                  <c:v>1.3099355287183723</c:v>
                </c:pt>
                <c:pt idx="302">
                  <c:v>1.9099630976494879</c:v>
                </c:pt>
                <c:pt idx="303">
                  <c:v>2.3131790098385232</c:v>
                </c:pt>
                <c:pt idx="304">
                  <c:v>2.3436273789991375</c:v>
                </c:pt>
                <c:pt idx="305">
                  <c:v>2.0656303534391092</c:v>
                </c:pt>
                <c:pt idx="306">
                  <c:v>1.8338777093297505</c:v>
                </c:pt>
                <c:pt idx="307">
                  <c:v>1.6680065066120566</c:v>
                </c:pt>
                <c:pt idx="308">
                  <c:v>1.4729603751479441</c:v>
                </c:pt>
                <c:pt idx="309">
                  <c:v>1.2955837767944232</c:v>
                </c:pt>
                <c:pt idx="310">
                  <c:v>1.1492795813738066</c:v>
                </c:pt>
                <c:pt idx="311">
                  <c:v>1.2230086737852492</c:v>
                </c:pt>
                <c:pt idx="312">
                  <c:v>1.2891176869764678</c:v>
                </c:pt>
                <c:pt idx="313">
                  <c:v>1.4490310314462935</c:v>
                </c:pt>
                <c:pt idx="314">
                  <c:v>1.7053511324598887</c:v>
                </c:pt>
                <c:pt idx="315">
                  <c:v>2.03725834141814</c:v>
                </c:pt>
                <c:pt idx="316">
                  <c:v>2.4415058202621864</c:v>
                </c:pt>
                <c:pt idx="317">
                  <c:v>2.7853566077501903</c:v>
                </c:pt>
                <c:pt idx="318">
                  <c:v>3.1181681285455745</c:v>
                </c:pt>
                <c:pt idx="319">
                  <c:v>3.395438720289178</c:v>
                </c:pt>
                <c:pt idx="320">
                  <c:v>3.5932309830890858</c:v>
                </c:pt>
                <c:pt idx="321">
                  <c:v>3.6534924934359077</c:v>
                </c:pt>
                <c:pt idx="322">
                  <c:v>3.6244477944636251</c:v>
                </c:pt>
                <c:pt idx="323">
                  <c:v>3.5250462265684184</c:v>
                </c:pt>
                <c:pt idx="324">
                  <c:v>3.4077963482233784</c:v>
                </c:pt>
                <c:pt idx="325">
                  <c:v>3.2577781151097818</c:v>
                </c:pt>
                <c:pt idx="326">
                  <c:v>3.054951673773362</c:v>
                </c:pt>
                <c:pt idx="327">
                  <c:v>2.8512083220969515</c:v>
                </c:pt>
                <c:pt idx="328">
                  <c:v>2.5695210194530751</c:v>
                </c:pt>
                <c:pt idx="329">
                  <c:v>2.3531168390143122</c:v>
                </c:pt>
                <c:pt idx="330">
                  <c:v>2.1003225043600628</c:v>
                </c:pt>
                <c:pt idx="331">
                  <c:v>1.903869207212054</c:v>
                </c:pt>
                <c:pt idx="332">
                  <c:v>1.7938498551525892</c:v>
                </c:pt>
                <c:pt idx="333">
                  <c:v>1.770450486414622</c:v>
                </c:pt>
                <c:pt idx="334">
                  <c:v>1.7804304982726624</c:v>
                </c:pt>
                <c:pt idx="335">
                  <c:v>1.7932685993575035</c:v>
                </c:pt>
                <c:pt idx="336">
                  <c:v>1.8243375933403716</c:v>
                </c:pt>
                <c:pt idx="337">
                  <c:v>1.8719283453735234</c:v>
                </c:pt>
                <c:pt idx="338">
                  <c:v>1.7856973673621539</c:v>
                </c:pt>
                <c:pt idx="339">
                  <c:v>1.6024876644652057</c:v>
                </c:pt>
                <c:pt idx="340">
                  <c:v>1.5354595332595149</c:v>
                </c:pt>
                <c:pt idx="341">
                  <c:v>1.5376918960310704</c:v>
                </c:pt>
                <c:pt idx="342">
                  <c:v>1.5986613866513768</c:v>
                </c:pt>
                <c:pt idx="343">
                  <c:v>1.5220687282837322</c:v>
                </c:pt>
                <c:pt idx="344">
                  <c:v>1.4739069031096317</c:v>
                </c:pt>
                <c:pt idx="345">
                  <c:v>1.4573281236352902</c:v>
                </c:pt>
                <c:pt idx="346">
                  <c:v>1.4365126479156582</c:v>
                </c:pt>
                <c:pt idx="347">
                  <c:v>1.3943991602892396</c:v>
                </c:pt>
                <c:pt idx="348">
                  <c:v>1.3307767863853499</c:v>
                </c:pt>
                <c:pt idx="349">
                  <c:v>1.2654404014790732</c:v>
                </c:pt>
                <c:pt idx="350">
                  <c:v>1.3199866705142256</c:v>
                </c:pt>
                <c:pt idx="351">
                  <c:v>1.4848608694931187</c:v>
                </c:pt>
                <c:pt idx="352">
                  <c:v>1.6332007603935803</c:v>
                </c:pt>
                <c:pt idx="353">
                  <c:v>1.7283017193183572</c:v>
                </c:pt>
                <c:pt idx="354">
                  <c:v>1.7971985972088997</c:v>
                </c:pt>
                <c:pt idx="355">
                  <c:v>1.8927422778851148</c:v>
                </c:pt>
                <c:pt idx="356">
                  <c:v>1.9170282445437721</c:v>
                </c:pt>
                <c:pt idx="357">
                  <c:v>1.8689419640629861</c:v>
                </c:pt>
                <c:pt idx="358">
                  <c:v>1.7348159028020238</c:v>
                </c:pt>
                <c:pt idx="359">
                  <c:v>1.5155078855501405</c:v>
                </c:pt>
                <c:pt idx="360">
                  <c:v>1.1685617274111475</c:v>
                </c:pt>
                <c:pt idx="361">
                  <c:v>0.88110487141479155</c:v>
                </c:pt>
                <c:pt idx="362">
                  <c:v>0.59251219365121466</c:v>
                </c:pt>
                <c:pt idx="363">
                  <c:v>0.28186925001642749</c:v>
                </c:pt>
                <c:pt idx="364">
                  <c:v>5.4821262146148797E-2</c:v>
                </c:pt>
                <c:pt idx="365">
                  <c:v>-5.0632415515567665E-2</c:v>
                </c:pt>
                <c:pt idx="366">
                  <c:v>-7.479400063421811E-3</c:v>
                </c:pt>
                <c:pt idx="367">
                  <c:v>2.9222115740085524E-2</c:v>
                </c:pt>
                <c:pt idx="368">
                  <c:v>3.5473389583496363E-2</c:v>
                </c:pt>
                <c:pt idx="369">
                  <c:v>9.7155369902203859E-2</c:v>
                </c:pt>
                <c:pt idx="370">
                  <c:v>0.18744375715531447</c:v>
                </c:pt>
                <c:pt idx="371">
                  <c:v>0.28840185421467152</c:v>
                </c:pt>
                <c:pt idx="372">
                  <c:v>0.48898802657929963</c:v>
                </c:pt>
                <c:pt idx="373">
                  <c:v>0.62610810777258996</c:v>
                </c:pt>
                <c:pt idx="374">
                  <c:v>0.77421910259737581</c:v>
                </c:pt>
                <c:pt idx="375">
                  <c:v>0.93330843312385292</c:v>
                </c:pt>
                <c:pt idx="376">
                  <c:v>1.0195625957114653</c:v>
                </c:pt>
                <c:pt idx="377">
                  <c:v>1.0641970471250488</c:v>
                </c:pt>
                <c:pt idx="378">
                  <c:v>0.97320572323633314</c:v>
                </c:pt>
                <c:pt idx="379">
                  <c:v>0.98071817700225949</c:v>
                </c:pt>
                <c:pt idx="380">
                  <c:v>1.0825927480587296</c:v>
                </c:pt>
                <c:pt idx="381">
                  <c:v>1.1677389317292608</c:v>
                </c:pt>
                <c:pt idx="382">
                  <c:v>1.2799413664476329</c:v>
                </c:pt>
                <c:pt idx="383">
                  <c:v>1.4594906395216043</c:v>
                </c:pt>
                <c:pt idx="384">
                  <c:v>1.7383078626139863</c:v>
                </c:pt>
                <c:pt idx="385">
                  <c:v>2.0174884740687014</c:v>
                </c:pt>
                <c:pt idx="386">
                  <c:v>2.1702932717284873</c:v>
                </c:pt>
                <c:pt idx="387">
                  <c:v>2.2642436646451025</c:v>
                </c:pt>
                <c:pt idx="388">
                  <c:v>2.2946337577013645</c:v>
                </c:pt>
                <c:pt idx="389">
                  <c:v>2.2211113947496224</c:v>
                </c:pt>
                <c:pt idx="390">
                  <c:v>2.0924341026362065</c:v>
                </c:pt>
                <c:pt idx="391">
                  <c:v>1.959270109397681</c:v>
                </c:pt>
                <c:pt idx="392">
                  <c:v>1.9346620146581728</c:v>
                </c:pt>
                <c:pt idx="393">
                  <c:v>1.9082351519179828</c:v>
                </c:pt>
                <c:pt idx="394">
                  <c:v>1.9628526882249513</c:v>
                </c:pt>
                <c:pt idx="395">
                  <c:v>2.0421184414436104</c:v>
                </c:pt>
                <c:pt idx="396">
                  <c:v>2.0992066354273882</c:v>
                </c:pt>
                <c:pt idx="397">
                  <c:v>2.1446768369574705</c:v>
                </c:pt>
                <c:pt idx="398">
                  <c:v>2.1658014267857504</c:v>
                </c:pt>
                <c:pt idx="399">
                  <c:v>2.2360706336788589</c:v>
                </c:pt>
                <c:pt idx="400">
                  <c:v>2.3358087630329223</c:v>
                </c:pt>
                <c:pt idx="401">
                  <c:v>2.4628863231576332</c:v>
                </c:pt>
                <c:pt idx="402">
                  <c:v>2.6093875675529574</c:v>
                </c:pt>
                <c:pt idx="403">
                  <c:v>2.6906183480444192</c:v>
                </c:pt>
                <c:pt idx="404">
                  <c:v>2.6768284797487687</c:v>
                </c:pt>
                <c:pt idx="405">
                  <c:v>2.68678281062747</c:v>
                </c:pt>
                <c:pt idx="406">
                  <c:v>2.5827143635182779</c:v>
                </c:pt>
                <c:pt idx="407">
                  <c:v>2.4224828657373911</c:v>
                </c:pt>
                <c:pt idx="408">
                  <c:v>2.1894362076627281</c:v>
                </c:pt>
                <c:pt idx="409">
                  <c:v>1.9929287346203732</c:v>
                </c:pt>
                <c:pt idx="410">
                  <c:v>1.9238538256820685</c:v>
                </c:pt>
                <c:pt idx="411">
                  <c:v>1.8361821335026083</c:v>
                </c:pt>
                <c:pt idx="412">
                  <c:v>1.7717867062716077</c:v>
                </c:pt>
                <c:pt idx="413">
                  <c:v>1.7281743408457544</c:v>
                </c:pt>
                <c:pt idx="414">
                  <c:v>1.7715459522114851</c:v>
                </c:pt>
                <c:pt idx="415">
                  <c:v>1.8098200561274591</c:v>
                </c:pt>
                <c:pt idx="416">
                  <c:v>1.7846170182275169</c:v>
                </c:pt>
                <c:pt idx="417">
                  <c:v>1.7458842130427048</c:v>
                </c:pt>
                <c:pt idx="418">
                  <c:v>1.7893924652302406</c:v>
                </c:pt>
                <c:pt idx="419">
                  <c:v>1.8954999792378189</c:v>
                </c:pt>
                <c:pt idx="420">
                  <c:v>2.0080178373806419</c:v>
                </c:pt>
                <c:pt idx="421">
                  <c:v>2.1055334498001081</c:v>
                </c:pt>
                <c:pt idx="422">
                  <c:v>2.0768705295918224</c:v>
                </c:pt>
                <c:pt idx="423">
                  <c:v>1.8377128199110615</c:v>
                </c:pt>
                <c:pt idx="424">
                  <c:v>1.5154875512975774</c:v>
                </c:pt>
                <c:pt idx="425">
                  <c:v>1.2422547692032044</c:v>
                </c:pt>
                <c:pt idx="426">
                  <c:v>0.99217308087874778</c:v>
                </c:pt>
                <c:pt idx="427">
                  <c:v>0.82130171727620882</c:v>
                </c:pt>
                <c:pt idx="428">
                  <c:v>0.79330136213231839</c:v>
                </c:pt>
                <c:pt idx="429">
                  <c:v>0.93546294236409722</c:v>
                </c:pt>
                <c:pt idx="430">
                  <c:v>1.1115645113736388</c:v>
                </c:pt>
                <c:pt idx="431">
                  <c:v>1.2309432525676129</c:v>
                </c:pt>
                <c:pt idx="432">
                  <c:v>1.2998912386103427</c:v>
                </c:pt>
                <c:pt idx="433">
                  <c:v>1.3609862111176412</c:v>
                </c:pt>
                <c:pt idx="434">
                  <c:v>1.569059152434761</c:v>
                </c:pt>
                <c:pt idx="435">
                  <c:v>2.0653305975971961</c:v>
                </c:pt>
                <c:pt idx="436">
                  <c:v>2.7016923898182816</c:v>
                </c:pt>
                <c:pt idx="437">
                  <c:v>3.3732667095852826</c:v>
                </c:pt>
                <c:pt idx="438">
                  <c:v>4.0342176258895011</c:v>
                </c:pt>
                <c:pt idx="439">
                  <c:v>4.6300603488062491</c:v>
                </c:pt>
                <c:pt idx="440">
                  <c:v>5.0918247398262464</c:v>
                </c:pt>
                <c:pt idx="441">
                  <c:v>5.4355204172640441</c:v>
                </c:pt>
                <c:pt idx="442">
                  <c:v>5.7382364676327127</c:v>
                </c:pt>
                <c:pt idx="443">
                  <c:v>6.0123950430033473</c:v>
                </c:pt>
                <c:pt idx="444">
                  <c:v>6.3647945811539657</c:v>
                </c:pt>
                <c:pt idx="445">
                  <c:v>6.8014266382980137</c:v>
                </c:pt>
                <c:pt idx="446">
                  <c:v>7.3267777549252244</c:v>
                </c:pt>
                <c:pt idx="447">
                  <c:v>7.6662378278508045</c:v>
                </c:pt>
                <c:pt idx="448">
                  <c:v>7.9616559451624793</c:v>
                </c:pt>
                <c:pt idx="449">
                  <c:v>8.2988817950356477</c:v>
                </c:pt>
                <c:pt idx="450">
                  <c:v>8.473038841258381</c:v>
                </c:pt>
                <c:pt idx="451">
                  <c:v>8.5383102754878752</c:v>
                </c:pt>
                <c:pt idx="452">
                  <c:v>8.4815126236530745</c:v>
                </c:pt>
                <c:pt idx="453">
                  <c:v>8.3959789553068305</c:v>
                </c:pt>
                <c:pt idx="454">
                  <c:v>8.1507808303926979</c:v>
                </c:pt>
                <c:pt idx="455">
                  <c:v>7.716554724830476</c:v>
                </c:pt>
                <c:pt idx="456">
                  <c:v>7.3641100953689334</c:v>
                </c:pt>
                <c:pt idx="457">
                  <c:v>6.9929301911606601</c:v>
                </c:pt>
                <c:pt idx="458">
                  <c:v>6.4568142708715852</c:v>
                </c:pt>
                <c:pt idx="459">
                  <c:v>5.9876297821022533</c:v>
                </c:pt>
                <c:pt idx="460">
                  <c:v>5.477177528535627</c:v>
                </c:pt>
                <c:pt idx="461">
                  <c:v>4.8963069157269716</c:v>
                </c:pt>
                <c:pt idx="462">
                  <c:v>4.357579117241289</c:v>
                </c:pt>
                <c:pt idx="463">
                  <c:v>3.9624956683301136</c:v>
                </c:pt>
                <c:pt idx="464">
                  <c:v>3.7482830015376556</c:v>
                </c:pt>
                <c:pt idx="465">
                  <c:v>3.466753710488369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BFF6-4CA8-BD62-95750142F00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363744304"/>
        <c:axId val="1220274111"/>
      </c:lineChart>
      <c:catAx>
        <c:axId val="36374430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low"/>
        <c:spPr>
          <a:noFill/>
          <a:ln w="12700" cap="flat" cmpd="sng" algn="ctr">
            <a:solidFill>
              <a:srgbClr val="000000"/>
            </a:solidFill>
            <a:round/>
          </a:ln>
          <a:effectLst/>
        </c:spPr>
        <c:txPr>
          <a:bodyPr rot="-60000000" vert="horz"/>
          <a:lstStyle/>
          <a:p>
            <a:pPr>
              <a:defRPr sz="1200"/>
            </a:pPr>
            <a:endParaRPr lang="en-US"/>
          </a:p>
        </c:txPr>
        <c:crossAx val="1220274111"/>
        <c:crosses val="autoZero"/>
        <c:auto val="1"/>
        <c:lblAlgn val="ctr"/>
        <c:lblOffset val="100"/>
        <c:noMultiLvlLbl val="0"/>
      </c:catAx>
      <c:valAx>
        <c:axId val="1220274111"/>
        <c:scaling>
          <c:orientation val="minMax"/>
          <c:max val="1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" sourceLinked="0"/>
        <c:majorTickMark val="out"/>
        <c:minorTickMark val="none"/>
        <c:tickLblPos val="nextTo"/>
        <c:spPr>
          <a:noFill/>
          <a:ln w="6350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 sz="1800"/>
            </a:pPr>
            <a:endParaRPr lang="en-US"/>
          </a:p>
        </c:txPr>
        <c:crossAx val="363744304"/>
        <c:crosses val="autoZero"/>
        <c:crossBetween val="between"/>
      </c:valAx>
    </c:plotArea>
    <c:legend>
      <c:legendPos val="t"/>
      <c:layout>
        <c:manualLayout>
          <c:xMode val="edge"/>
          <c:yMode val="edge"/>
          <c:x val="4.4529314997597217E-3"/>
          <c:y val="2.9850746268656716E-2"/>
          <c:w val="0.99109390595541758"/>
          <c:h val="8.9964743213068521E-2"/>
        </c:manualLayout>
      </c:layout>
      <c:overlay val="0"/>
    </c:legend>
    <c:plotVisOnly val="1"/>
    <c:dispBlanksAs val="gap"/>
    <c:showDLblsOverMax val="0"/>
    <c:extLst/>
  </c:chart>
  <c:spPr>
    <a:ln>
      <a:solidFill>
        <a:srgbClr val="000000"/>
      </a:solidFill>
    </a:ln>
  </c:spPr>
  <c:txPr>
    <a:bodyPr/>
    <a:lstStyle/>
    <a:p>
      <a:pPr>
        <a:defRPr sz="1600" b="1"/>
      </a:pPr>
      <a:endParaRPr lang="en-US"/>
    </a:p>
  </c:txPr>
  <c:externalData r:id="rId2">
    <c:autoUpdate val="0"/>
  </c:externalData>
  <c:userShapes r:id="rId3"/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6.4548913807649044E-2"/>
          <c:y val="4.3151093967505071E-2"/>
          <c:w val="0.92317430047806526"/>
          <c:h val="0.76762685028743871"/>
        </c:manualLayout>
      </c:layout>
      <c:lineChart>
        <c:grouping val="standard"/>
        <c:varyColors val="0"/>
        <c:ser>
          <c:idx val="0"/>
          <c:order val="0"/>
          <c:spPr>
            <a:ln w="44450" cap="rnd">
              <a:solidFill>
                <a:srgbClr val="0070C0"/>
              </a:solidFill>
              <a:round/>
            </a:ln>
            <a:effectLst/>
          </c:spPr>
          <c:marker>
            <c:symbol val="none"/>
          </c:marker>
          <c:cat>
            <c:strRef>
              <c:f>intrate!$A$62:$A$527</c:f>
              <c:strCache>
                <c:ptCount val="466"/>
                <c:pt idx="0">
                  <c:v>1985-01-31</c:v>
                </c:pt>
                <c:pt idx="1">
                  <c:v>1985-02-28</c:v>
                </c:pt>
                <c:pt idx="2">
                  <c:v>1985-03-31</c:v>
                </c:pt>
                <c:pt idx="3">
                  <c:v>1985-04-30</c:v>
                </c:pt>
                <c:pt idx="4">
                  <c:v>1985-05-31</c:v>
                </c:pt>
                <c:pt idx="5">
                  <c:v>1985-06-30</c:v>
                </c:pt>
                <c:pt idx="6">
                  <c:v>1985-07-31</c:v>
                </c:pt>
                <c:pt idx="7">
                  <c:v>1985-08-31</c:v>
                </c:pt>
                <c:pt idx="8">
                  <c:v>1985-09-30</c:v>
                </c:pt>
                <c:pt idx="9">
                  <c:v>1985-10-31</c:v>
                </c:pt>
                <c:pt idx="10">
                  <c:v>1985-11-30</c:v>
                </c:pt>
                <c:pt idx="11">
                  <c:v>1985-12-31</c:v>
                </c:pt>
                <c:pt idx="12">
                  <c:v>1986-01-31</c:v>
                </c:pt>
                <c:pt idx="13">
                  <c:v>1986-02-28</c:v>
                </c:pt>
                <c:pt idx="14">
                  <c:v>1986-03-31</c:v>
                </c:pt>
                <c:pt idx="15">
                  <c:v>1986-04-30</c:v>
                </c:pt>
                <c:pt idx="16">
                  <c:v>1986-05-31</c:v>
                </c:pt>
                <c:pt idx="17">
                  <c:v>1986-06-30</c:v>
                </c:pt>
                <c:pt idx="18">
                  <c:v>1986-07-31</c:v>
                </c:pt>
                <c:pt idx="19">
                  <c:v>1986-08-31</c:v>
                </c:pt>
                <c:pt idx="20">
                  <c:v>1986-09-30</c:v>
                </c:pt>
                <c:pt idx="21">
                  <c:v>1986-10-31</c:v>
                </c:pt>
                <c:pt idx="22">
                  <c:v>1986-11-30</c:v>
                </c:pt>
                <c:pt idx="23">
                  <c:v>1986-12-31</c:v>
                </c:pt>
                <c:pt idx="24">
                  <c:v>1987-01-31</c:v>
                </c:pt>
                <c:pt idx="25">
                  <c:v>1987-02-28</c:v>
                </c:pt>
                <c:pt idx="26">
                  <c:v>1987-03-31</c:v>
                </c:pt>
                <c:pt idx="27">
                  <c:v>1987-04-30</c:v>
                </c:pt>
                <c:pt idx="28">
                  <c:v>1987-05-31</c:v>
                </c:pt>
                <c:pt idx="29">
                  <c:v>1987-06-30</c:v>
                </c:pt>
                <c:pt idx="30">
                  <c:v>1987-07-31</c:v>
                </c:pt>
                <c:pt idx="31">
                  <c:v>1987-08-31</c:v>
                </c:pt>
                <c:pt idx="32">
                  <c:v>1987-09-30</c:v>
                </c:pt>
                <c:pt idx="33">
                  <c:v>1987-10-31</c:v>
                </c:pt>
                <c:pt idx="34">
                  <c:v>1987-11-30</c:v>
                </c:pt>
                <c:pt idx="35">
                  <c:v>1987-12-31</c:v>
                </c:pt>
                <c:pt idx="36">
                  <c:v>1988-01-31</c:v>
                </c:pt>
                <c:pt idx="37">
                  <c:v>1988-02-29</c:v>
                </c:pt>
                <c:pt idx="38">
                  <c:v>1988-03-31</c:v>
                </c:pt>
                <c:pt idx="39">
                  <c:v>1988-04-30</c:v>
                </c:pt>
                <c:pt idx="40">
                  <c:v>1988-05-31</c:v>
                </c:pt>
                <c:pt idx="41">
                  <c:v>1988-06-30</c:v>
                </c:pt>
                <c:pt idx="42">
                  <c:v>1988-07-31</c:v>
                </c:pt>
                <c:pt idx="43">
                  <c:v>1988-08-31</c:v>
                </c:pt>
                <c:pt idx="44">
                  <c:v>1988-09-30</c:v>
                </c:pt>
                <c:pt idx="45">
                  <c:v>1988-10-31</c:v>
                </c:pt>
                <c:pt idx="46">
                  <c:v>1988-11-30</c:v>
                </c:pt>
                <c:pt idx="47">
                  <c:v>1988-12-31</c:v>
                </c:pt>
                <c:pt idx="48">
                  <c:v>1989-01-31</c:v>
                </c:pt>
                <c:pt idx="49">
                  <c:v>1989-02-28</c:v>
                </c:pt>
                <c:pt idx="50">
                  <c:v>1989-03-31</c:v>
                </c:pt>
                <c:pt idx="51">
                  <c:v>1989-04-30</c:v>
                </c:pt>
                <c:pt idx="52">
                  <c:v>1989-05-31</c:v>
                </c:pt>
                <c:pt idx="53">
                  <c:v>1989-06-30</c:v>
                </c:pt>
                <c:pt idx="54">
                  <c:v>1989-07-31</c:v>
                </c:pt>
                <c:pt idx="55">
                  <c:v>1989-08-31</c:v>
                </c:pt>
                <c:pt idx="56">
                  <c:v>1989-09-30</c:v>
                </c:pt>
                <c:pt idx="57">
                  <c:v>1989-10-31</c:v>
                </c:pt>
                <c:pt idx="58">
                  <c:v>1989-11-30</c:v>
                </c:pt>
                <c:pt idx="59">
                  <c:v>1989-12-31</c:v>
                </c:pt>
                <c:pt idx="60">
                  <c:v>1990-01-31</c:v>
                </c:pt>
                <c:pt idx="61">
                  <c:v>1990-02-28</c:v>
                </c:pt>
                <c:pt idx="62">
                  <c:v>1990-03-31</c:v>
                </c:pt>
                <c:pt idx="63">
                  <c:v>1990-04-30</c:v>
                </c:pt>
                <c:pt idx="64">
                  <c:v>1990-05-31</c:v>
                </c:pt>
                <c:pt idx="65">
                  <c:v>1990-06-30</c:v>
                </c:pt>
                <c:pt idx="66">
                  <c:v>1990-07-31</c:v>
                </c:pt>
                <c:pt idx="67">
                  <c:v>1990-08-31</c:v>
                </c:pt>
                <c:pt idx="68">
                  <c:v>1990-09-30</c:v>
                </c:pt>
                <c:pt idx="69">
                  <c:v>1990-10-31</c:v>
                </c:pt>
                <c:pt idx="70">
                  <c:v>1990-11-30</c:v>
                </c:pt>
                <c:pt idx="71">
                  <c:v>1990-12-31</c:v>
                </c:pt>
                <c:pt idx="72">
                  <c:v>1991-01-31</c:v>
                </c:pt>
                <c:pt idx="73">
                  <c:v>1991-02-28</c:v>
                </c:pt>
                <c:pt idx="74">
                  <c:v>1991-03-31</c:v>
                </c:pt>
                <c:pt idx="75">
                  <c:v>1991-04-30</c:v>
                </c:pt>
                <c:pt idx="76">
                  <c:v>1991-05-31</c:v>
                </c:pt>
                <c:pt idx="77">
                  <c:v>1991-06-30</c:v>
                </c:pt>
                <c:pt idx="78">
                  <c:v>1991-07-31</c:v>
                </c:pt>
                <c:pt idx="79">
                  <c:v>1991-08-31</c:v>
                </c:pt>
                <c:pt idx="80">
                  <c:v>1991-09-30</c:v>
                </c:pt>
                <c:pt idx="81">
                  <c:v>1991-10-31</c:v>
                </c:pt>
                <c:pt idx="82">
                  <c:v>1991-11-30</c:v>
                </c:pt>
                <c:pt idx="83">
                  <c:v>1991-12-31</c:v>
                </c:pt>
                <c:pt idx="84">
                  <c:v>1992-01-31</c:v>
                </c:pt>
                <c:pt idx="85">
                  <c:v>1992-02-29</c:v>
                </c:pt>
                <c:pt idx="86">
                  <c:v>1992-03-31</c:v>
                </c:pt>
                <c:pt idx="87">
                  <c:v>1992-04-30</c:v>
                </c:pt>
                <c:pt idx="88">
                  <c:v>1992-05-31</c:v>
                </c:pt>
                <c:pt idx="89">
                  <c:v>1992-06-30</c:v>
                </c:pt>
                <c:pt idx="90">
                  <c:v>1992-07-31</c:v>
                </c:pt>
                <c:pt idx="91">
                  <c:v>1992-08-31</c:v>
                </c:pt>
                <c:pt idx="92">
                  <c:v>1992-09-30</c:v>
                </c:pt>
                <c:pt idx="93">
                  <c:v>1992-10-31</c:v>
                </c:pt>
                <c:pt idx="94">
                  <c:v>1992-11-30</c:v>
                </c:pt>
                <c:pt idx="95">
                  <c:v>1992-12-31</c:v>
                </c:pt>
                <c:pt idx="96">
                  <c:v>1993-01-31</c:v>
                </c:pt>
                <c:pt idx="97">
                  <c:v>1993-02-28</c:v>
                </c:pt>
                <c:pt idx="98">
                  <c:v>1993-03-31</c:v>
                </c:pt>
                <c:pt idx="99">
                  <c:v>1993-04-30</c:v>
                </c:pt>
                <c:pt idx="100">
                  <c:v>1993-05-31</c:v>
                </c:pt>
                <c:pt idx="101">
                  <c:v>1993-06-30</c:v>
                </c:pt>
                <c:pt idx="102">
                  <c:v>1993-07-31</c:v>
                </c:pt>
                <c:pt idx="103">
                  <c:v>1993-08-31</c:v>
                </c:pt>
                <c:pt idx="104">
                  <c:v>1993-09-30</c:v>
                </c:pt>
                <c:pt idx="105">
                  <c:v>1993-10-31</c:v>
                </c:pt>
                <c:pt idx="106">
                  <c:v>1993-11-30</c:v>
                </c:pt>
                <c:pt idx="107">
                  <c:v>1993-12-31</c:v>
                </c:pt>
                <c:pt idx="108">
                  <c:v>1994-01-31</c:v>
                </c:pt>
                <c:pt idx="109">
                  <c:v>1994-02-28</c:v>
                </c:pt>
                <c:pt idx="110">
                  <c:v>1994-03-31</c:v>
                </c:pt>
                <c:pt idx="111">
                  <c:v>1994-04-30</c:v>
                </c:pt>
                <c:pt idx="112">
                  <c:v>1994-05-31</c:v>
                </c:pt>
                <c:pt idx="113">
                  <c:v>1994-06-30</c:v>
                </c:pt>
                <c:pt idx="114">
                  <c:v>1994-07-31</c:v>
                </c:pt>
                <c:pt idx="115">
                  <c:v>1994-08-31</c:v>
                </c:pt>
                <c:pt idx="116">
                  <c:v>1994-09-30</c:v>
                </c:pt>
                <c:pt idx="117">
                  <c:v>1994-10-31</c:v>
                </c:pt>
                <c:pt idx="118">
                  <c:v>1994-11-30</c:v>
                </c:pt>
                <c:pt idx="119">
                  <c:v>1994-12-31</c:v>
                </c:pt>
                <c:pt idx="120">
                  <c:v>1995-01-31</c:v>
                </c:pt>
                <c:pt idx="121">
                  <c:v>1995-02-28</c:v>
                </c:pt>
                <c:pt idx="122">
                  <c:v>1995-03-31</c:v>
                </c:pt>
                <c:pt idx="123">
                  <c:v>1995-04-30</c:v>
                </c:pt>
                <c:pt idx="124">
                  <c:v>1995-05-31</c:v>
                </c:pt>
                <c:pt idx="125">
                  <c:v>1995-06-30</c:v>
                </c:pt>
                <c:pt idx="126">
                  <c:v>1995-07-31</c:v>
                </c:pt>
                <c:pt idx="127">
                  <c:v>1995-08-31</c:v>
                </c:pt>
                <c:pt idx="128">
                  <c:v>1995-09-30</c:v>
                </c:pt>
                <c:pt idx="129">
                  <c:v>1995-10-31</c:v>
                </c:pt>
                <c:pt idx="130">
                  <c:v>1995-11-30</c:v>
                </c:pt>
                <c:pt idx="131">
                  <c:v>1995-12-31</c:v>
                </c:pt>
                <c:pt idx="132">
                  <c:v>1996-01-31</c:v>
                </c:pt>
                <c:pt idx="133">
                  <c:v>1996-02-29</c:v>
                </c:pt>
                <c:pt idx="134">
                  <c:v>1996-03-31</c:v>
                </c:pt>
                <c:pt idx="135">
                  <c:v>1996-04-30</c:v>
                </c:pt>
                <c:pt idx="136">
                  <c:v>1996-05-31</c:v>
                </c:pt>
                <c:pt idx="137">
                  <c:v>1996-06-30</c:v>
                </c:pt>
                <c:pt idx="138">
                  <c:v>1996-07-31</c:v>
                </c:pt>
                <c:pt idx="139">
                  <c:v>1996-08-31</c:v>
                </c:pt>
                <c:pt idx="140">
                  <c:v>1996-09-30</c:v>
                </c:pt>
                <c:pt idx="141">
                  <c:v>1996-10-31</c:v>
                </c:pt>
                <c:pt idx="142">
                  <c:v>1996-11-30</c:v>
                </c:pt>
                <c:pt idx="143">
                  <c:v>1996-12-31</c:v>
                </c:pt>
                <c:pt idx="144">
                  <c:v>1997-01-31</c:v>
                </c:pt>
                <c:pt idx="145">
                  <c:v>1997-02-28</c:v>
                </c:pt>
                <c:pt idx="146">
                  <c:v>1997-03-31</c:v>
                </c:pt>
                <c:pt idx="147">
                  <c:v>1997-04-30</c:v>
                </c:pt>
                <c:pt idx="148">
                  <c:v>1997-05-31</c:v>
                </c:pt>
                <c:pt idx="149">
                  <c:v>1997-06-30</c:v>
                </c:pt>
                <c:pt idx="150">
                  <c:v>1997-07-31</c:v>
                </c:pt>
                <c:pt idx="151">
                  <c:v>1997-08-31</c:v>
                </c:pt>
                <c:pt idx="152">
                  <c:v>1997-09-30</c:v>
                </c:pt>
                <c:pt idx="153">
                  <c:v>1997-10-31</c:v>
                </c:pt>
                <c:pt idx="154">
                  <c:v>1997-11-30</c:v>
                </c:pt>
                <c:pt idx="155">
                  <c:v>1997-12-31</c:v>
                </c:pt>
                <c:pt idx="156">
                  <c:v>1998-01-31</c:v>
                </c:pt>
                <c:pt idx="157">
                  <c:v>1998-02-28</c:v>
                </c:pt>
                <c:pt idx="158">
                  <c:v>1998-03-31</c:v>
                </c:pt>
                <c:pt idx="159">
                  <c:v>1998-04-30</c:v>
                </c:pt>
                <c:pt idx="160">
                  <c:v>1998-05-31</c:v>
                </c:pt>
                <c:pt idx="161">
                  <c:v>1998-06-30</c:v>
                </c:pt>
                <c:pt idx="162">
                  <c:v>1998-07-31</c:v>
                </c:pt>
                <c:pt idx="163">
                  <c:v>1998-08-31</c:v>
                </c:pt>
                <c:pt idx="164">
                  <c:v>1998-09-30</c:v>
                </c:pt>
                <c:pt idx="165">
                  <c:v>1998-10-31</c:v>
                </c:pt>
                <c:pt idx="166">
                  <c:v>1998-11-30</c:v>
                </c:pt>
                <c:pt idx="167">
                  <c:v>1998-12-31</c:v>
                </c:pt>
                <c:pt idx="168">
                  <c:v>1999-01-31</c:v>
                </c:pt>
                <c:pt idx="169">
                  <c:v>1999-02-28</c:v>
                </c:pt>
                <c:pt idx="170">
                  <c:v>1999-03-31</c:v>
                </c:pt>
                <c:pt idx="171">
                  <c:v>1999-04-30</c:v>
                </c:pt>
                <c:pt idx="172">
                  <c:v>1999-05-31</c:v>
                </c:pt>
                <c:pt idx="173">
                  <c:v>1999-06-30</c:v>
                </c:pt>
                <c:pt idx="174">
                  <c:v>1999-07-31</c:v>
                </c:pt>
                <c:pt idx="175">
                  <c:v>1999-08-31</c:v>
                </c:pt>
                <c:pt idx="176">
                  <c:v>1999-09-30</c:v>
                </c:pt>
                <c:pt idx="177">
                  <c:v>1999-10-31</c:v>
                </c:pt>
                <c:pt idx="178">
                  <c:v>1999-11-30</c:v>
                </c:pt>
                <c:pt idx="179">
                  <c:v>1999-12-31</c:v>
                </c:pt>
                <c:pt idx="180">
                  <c:v>2000-01-31</c:v>
                </c:pt>
                <c:pt idx="181">
                  <c:v>2000-02-29</c:v>
                </c:pt>
                <c:pt idx="182">
                  <c:v>2000-03-31</c:v>
                </c:pt>
                <c:pt idx="183">
                  <c:v>2000-04-30</c:v>
                </c:pt>
                <c:pt idx="184">
                  <c:v>2000-05-31</c:v>
                </c:pt>
                <c:pt idx="185">
                  <c:v>2000-06-30</c:v>
                </c:pt>
                <c:pt idx="186">
                  <c:v>2000-07-31</c:v>
                </c:pt>
                <c:pt idx="187">
                  <c:v>2000-08-31</c:v>
                </c:pt>
                <c:pt idx="188">
                  <c:v>2000-09-30</c:v>
                </c:pt>
                <c:pt idx="189">
                  <c:v>2000-10-31</c:v>
                </c:pt>
                <c:pt idx="190">
                  <c:v>2000-11-30</c:v>
                </c:pt>
                <c:pt idx="191">
                  <c:v>2000-12-31</c:v>
                </c:pt>
                <c:pt idx="192">
                  <c:v>2001-01-31</c:v>
                </c:pt>
                <c:pt idx="193">
                  <c:v>2001-02-28</c:v>
                </c:pt>
                <c:pt idx="194">
                  <c:v>2001-03-31</c:v>
                </c:pt>
                <c:pt idx="195">
                  <c:v>2001-04-30</c:v>
                </c:pt>
                <c:pt idx="196">
                  <c:v>2001-05-31</c:v>
                </c:pt>
                <c:pt idx="197">
                  <c:v>2001-06-30</c:v>
                </c:pt>
                <c:pt idx="198">
                  <c:v>2001-07-31</c:v>
                </c:pt>
                <c:pt idx="199">
                  <c:v>2001-08-31</c:v>
                </c:pt>
                <c:pt idx="200">
                  <c:v>2001-09-30</c:v>
                </c:pt>
                <c:pt idx="201">
                  <c:v>2001-10-31</c:v>
                </c:pt>
                <c:pt idx="202">
                  <c:v>2001-11-30</c:v>
                </c:pt>
                <c:pt idx="203">
                  <c:v>2001-12-31</c:v>
                </c:pt>
                <c:pt idx="204">
                  <c:v>2002-01-31</c:v>
                </c:pt>
                <c:pt idx="205">
                  <c:v>2002-02-28</c:v>
                </c:pt>
                <c:pt idx="206">
                  <c:v>2002-03-31</c:v>
                </c:pt>
                <c:pt idx="207">
                  <c:v>2002-04-30</c:v>
                </c:pt>
                <c:pt idx="208">
                  <c:v>2002-05-31</c:v>
                </c:pt>
                <c:pt idx="209">
                  <c:v>2002-06-30</c:v>
                </c:pt>
                <c:pt idx="210">
                  <c:v>2002-07-31</c:v>
                </c:pt>
                <c:pt idx="211">
                  <c:v>2002-08-31</c:v>
                </c:pt>
                <c:pt idx="212">
                  <c:v>2002-09-30</c:v>
                </c:pt>
                <c:pt idx="213">
                  <c:v>2002-10-31</c:v>
                </c:pt>
                <c:pt idx="214">
                  <c:v>2002-11-30</c:v>
                </c:pt>
                <c:pt idx="215">
                  <c:v>2002-12-31</c:v>
                </c:pt>
                <c:pt idx="216">
                  <c:v>2003-01-31</c:v>
                </c:pt>
                <c:pt idx="217">
                  <c:v>2003-02-28</c:v>
                </c:pt>
                <c:pt idx="218">
                  <c:v>2003-03-31</c:v>
                </c:pt>
                <c:pt idx="219">
                  <c:v>2003-04-30</c:v>
                </c:pt>
                <c:pt idx="220">
                  <c:v>2003-05-31</c:v>
                </c:pt>
                <c:pt idx="221">
                  <c:v>2003-06-30</c:v>
                </c:pt>
                <c:pt idx="222">
                  <c:v>2003-07-31</c:v>
                </c:pt>
                <c:pt idx="223">
                  <c:v>2003-08-31</c:v>
                </c:pt>
                <c:pt idx="224">
                  <c:v>2003-09-30</c:v>
                </c:pt>
                <c:pt idx="225">
                  <c:v>2003-10-31</c:v>
                </c:pt>
                <c:pt idx="226">
                  <c:v>2003-11-30</c:v>
                </c:pt>
                <c:pt idx="227">
                  <c:v>2003-12-31</c:v>
                </c:pt>
                <c:pt idx="228">
                  <c:v>2004-01-31</c:v>
                </c:pt>
                <c:pt idx="229">
                  <c:v>2004-02-29</c:v>
                </c:pt>
                <c:pt idx="230">
                  <c:v>2004-03-31</c:v>
                </c:pt>
                <c:pt idx="231">
                  <c:v>2004-04-30</c:v>
                </c:pt>
                <c:pt idx="232">
                  <c:v>2004-05-31</c:v>
                </c:pt>
                <c:pt idx="233">
                  <c:v>2004-06-30</c:v>
                </c:pt>
                <c:pt idx="234">
                  <c:v>2004-07-31</c:v>
                </c:pt>
                <c:pt idx="235">
                  <c:v>2004-08-31</c:v>
                </c:pt>
                <c:pt idx="236">
                  <c:v>2004-09-30</c:v>
                </c:pt>
                <c:pt idx="237">
                  <c:v>2004-10-31</c:v>
                </c:pt>
                <c:pt idx="238">
                  <c:v>2004-11-30</c:v>
                </c:pt>
                <c:pt idx="239">
                  <c:v>2004-12-31</c:v>
                </c:pt>
                <c:pt idx="240">
                  <c:v>2005-01-31</c:v>
                </c:pt>
                <c:pt idx="241">
                  <c:v>2005-02-28</c:v>
                </c:pt>
                <c:pt idx="242">
                  <c:v>2005-03-31</c:v>
                </c:pt>
                <c:pt idx="243">
                  <c:v>2005-04-30</c:v>
                </c:pt>
                <c:pt idx="244">
                  <c:v>2005-05-31</c:v>
                </c:pt>
                <c:pt idx="245">
                  <c:v>2005-06-30</c:v>
                </c:pt>
                <c:pt idx="246">
                  <c:v>2005-07-31</c:v>
                </c:pt>
                <c:pt idx="247">
                  <c:v>2005-08-31</c:v>
                </c:pt>
                <c:pt idx="248">
                  <c:v>2005-09-30</c:v>
                </c:pt>
                <c:pt idx="249">
                  <c:v>2005-10-31</c:v>
                </c:pt>
                <c:pt idx="250">
                  <c:v>2005-11-30</c:v>
                </c:pt>
                <c:pt idx="251">
                  <c:v>2005-12-31</c:v>
                </c:pt>
                <c:pt idx="252">
                  <c:v>2006-01-31</c:v>
                </c:pt>
                <c:pt idx="253">
                  <c:v>2006-02-28</c:v>
                </c:pt>
                <c:pt idx="254">
                  <c:v>2006-03-31</c:v>
                </c:pt>
                <c:pt idx="255">
                  <c:v>2006-04-30</c:v>
                </c:pt>
                <c:pt idx="256">
                  <c:v>2006-05-31</c:v>
                </c:pt>
                <c:pt idx="257">
                  <c:v>2006-06-30</c:v>
                </c:pt>
                <c:pt idx="258">
                  <c:v>2006-07-31</c:v>
                </c:pt>
                <c:pt idx="259">
                  <c:v>2006-08-31</c:v>
                </c:pt>
                <c:pt idx="260">
                  <c:v>2006-09-30</c:v>
                </c:pt>
                <c:pt idx="261">
                  <c:v>2006-10-31</c:v>
                </c:pt>
                <c:pt idx="262">
                  <c:v>2006-11-30</c:v>
                </c:pt>
                <c:pt idx="263">
                  <c:v>2006-12-31</c:v>
                </c:pt>
                <c:pt idx="264">
                  <c:v>2007-01-31</c:v>
                </c:pt>
                <c:pt idx="265">
                  <c:v>2007-02-28</c:v>
                </c:pt>
                <c:pt idx="266">
                  <c:v>2007-03-31</c:v>
                </c:pt>
                <c:pt idx="267">
                  <c:v>2007-04-30</c:v>
                </c:pt>
                <c:pt idx="268">
                  <c:v>2007-05-31</c:v>
                </c:pt>
                <c:pt idx="269">
                  <c:v>2007-06-30</c:v>
                </c:pt>
                <c:pt idx="270">
                  <c:v>2007-07-31</c:v>
                </c:pt>
                <c:pt idx="271">
                  <c:v>2007-08-31</c:v>
                </c:pt>
                <c:pt idx="272">
                  <c:v>2007-09-30</c:v>
                </c:pt>
                <c:pt idx="273">
                  <c:v>2007-10-31</c:v>
                </c:pt>
                <c:pt idx="274">
                  <c:v>2007-11-30</c:v>
                </c:pt>
                <c:pt idx="275">
                  <c:v>2007-12-31</c:v>
                </c:pt>
                <c:pt idx="276">
                  <c:v>2008-01-31</c:v>
                </c:pt>
                <c:pt idx="277">
                  <c:v>2008-02-29</c:v>
                </c:pt>
                <c:pt idx="278">
                  <c:v>2008-03-31</c:v>
                </c:pt>
                <c:pt idx="279">
                  <c:v>2008-04-30</c:v>
                </c:pt>
                <c:pt idx="280">
                  <c:v>2008-05-31</c:v>
                </c:pt>
                <c:pt idx="281">
                  <c:v>2008-06-30</c:v>
                </c:pt>
                <c:pt idx="282">
                  <c:v>2008-07-31</c:v>
                </c:pt>
                <c:pt idx="283">
                  <c:v>2008-08-31</c:v>
                </c:pt>
                <c:pt idx="284">
                  <c:v>2008-09-30</c:v>
                </c:pt>
                <c:pt idx="285">
                  <c:v>2008-10-31</c:v>
                </c:pt>
                <c:pt idx="286">
                  <c:v>2008-11-30</c:v>
                </c:pt>
                <c:pt idx="287">
                  <c:v>2008-12-31</c:v>
                </c:pt>
                <c:pt idx="288">
                  <c:v>2009-01-31</c:v>
                </c:pt>
                <c:pt idx="289">
                  <c:v>2009-02-28</c:v>
                </c:pt>
                <c:pt idx="290">
                  <c:v>2009-03-31</c:v>
                </c:pt>
                <c:pt idx="291">
                  <c:v>2009-04-30</c:v>
                </c:pt>
                <c:pt idx="292">
                  <c:v>2009-05-31</c:v>
                </c:pt>
                <c:pt idx="293">
                  <c:v>2009-06-30</c:v>
                </c:pt>
                <c:pt idx="294">
                  <c:v>2009-07-31</c:v>
                </c:pt>
                <c:pt idx="295">
                  <c:v>2009-08-31</c:v>
                </c:pt>
                <c:pt idx="296">
                  <c:v>2009-09-30</c:v>
                </c:pt>
                <c:pt idx="297">
                  <c:v>2009-10-31</c:v>
                </c:pt>
                <c:pt idx="298">
                  <c:v>2009-11-30</c:v>
                </c:pt>
                <c:pt idx="299">
                  <c:v>2009-12-31</c:v>
                </c:pt>
                <c:pt idx="300">
                  <c:v>2010-01-31</c:v>
                </c:pt>
                <c:pt idx="301">
                  <c:v>2010-02-28</c:v>
                </c:pt>
                <c:pt idx="302">
                  <c:v>2010-03-31</c:v>
                </c:pt>
                <c:pt idx="303">
                  <c:v>2010-04-30</c:v>
                </c:pt>
                <c:pt idx="304">
                  <c:v>2010-05-31</c:v>
                </c:pt>
                <c:pt idx="305">
                  <c:v>2010-06-30</c:v>
                </c:pt>
                <c:pt idx="306">
                  <c:v>2010-07-31</c:v>
                </c:pt>
                <c:pt idx="307">
                  <c:v>2010-08-31</c:v>
                </c:pt>
                <c:pt idx="308">
                  <c:v>2010-09-30</c:v>
                </c:pt>
                <c:pt idx="309">
                  <c:v>2010-10-31</c:v>
                </c:pt>
                <c:pt idx="310">
                  <c:v>2010-11-30</c:v>
                </c:pt>
                <c:pt idx="311">
                  <c:v>2010-12-31</c:v>
                </c:pt>
                <c:pt idx="312">
                  <c:v>2011-01-31</c:v>
                </c:pt>
                <c:pt idx="313">
                  <c:v>2011-02-28</c:v>
                </c:pt>
                <c:pt idx="314">
                  <c:v>2011-03-31</c:v>
                </c:pt>
                <c:pt idx="315">
                  <c:v>2011-04-30</c:v>
                </c:pt>
                <c:pt idx="316">
                  <c:v>2011-05-31</c:v>
                </c:pt>
                <c:pt idx="317">
                  <c:v>2011-06-30</c:v>
                </c:pt>
                <c:pt idx="318">
                  <c:v>2011-07-31</c:v>
                </c:pt>
                <c:pt idx="319">
                  <c:v>2011-08-31</c:v>
                </c:pt>
                <c:pt idx="320">
                  <c:v>2011-09-30</c:v>
                </c:pt>
                <c:pt idx="321">
                  <c:v>2011-10-31</c:v>
                </c:pt>
                <c:pt idx="322">
                  <c:v>2011-11-30</c:v>
                </c:pt>
                <c:pt idx="323">
                  <c:v>2011-12-31</c:v>
                </c:pt>
                <c:pt idx="324">
                  <c:v>2012-01-31</c:v>
                </c:pt>
                <c:pt idx="325">
                  <c:v>2012-02-29</c:v>
                </c:pt>
                <c:pt idx="326">
                  <c:v>2012-03-31</c:v>
                </c:pt>
                <c:pt idx="327">
                  <c:v>2012-04-30</c:v>
                </c:pt>
                <c:pt idx="328">
                  <c:v>2012-05-31</c:v>
                </c:pt>
                <c:pt idx="329">
                  <c:v>2012-06-30</c:v>
                </c:pt>
                <c:pt idx="330">
                  <c:v>2012-07-31</c:v>
                </c:pt>
                <c:pt idx="331">
                  <c:v>2012-08-31</c:v>
                </c:pt>
                <c:pt idx="332">
                  <c:v>2012-09-30</c:v>
                </c:pt>
                <c:pt idx="333">
                  <c:v>2012-10-31</c:v>
                </c:pt>
                <c:pt idx="334">
                  <c:v>2012-11-30</c:v>
                </c:pt>
                <c:pt idx="335">
                  <c:v>2012-12-31</c:v>
                </c:pt>
                <c:pt idx="336">
                  <c:v>2013-01-31</c:v>
                </c:pt>
                <c:pt idx="337">
                  <c:v>2013-02-28</c:v>
                </c:pt>
                <c:pt idx="338">
                  <c:v>2013-03-31</c:v>
                </c:pt>
                <c:pt idx="339">
                  <c:v>2013-04-30</c:v>
                </c:pt>
                <c:pt idx="340">
                  <c:v>2013-05-31</c:v>
                </c:pt>
                <c:pt idx="341">
                  <c:v>2013-06-30</c:v>
                </c:pt>
                <c:pt idx="342">
                  <c:v>2013-07-31</c:v>
                </c:pt>
                <c:pt idx="343">
                  <c:v>2013-08-31</c:v>
                </c:pt>
                <c:pt idx="344">
                  <c:v>2013-09-30</c:v>
                </c:pt>
                <c:pt idx="345">
                  <c:v>2013-10-31</c:v>
                </c:pt>
                <c:pt idx="346">
                  <c:v>2013-11-30</c:v>
                </c:pt>
                <c:pt idx="347">
                  <c:v>2013-12-31</c:v>
                </c:pt>
                <c:pt idx="348">
                  <c:v>2014-01-31</c:v>
                </c:pt>
                <c:pt idx="349">
                  <c:v>2014-02-28</c:v>
                </c:pt>
                <c:pt idx="350">
                  <c:v>2014-03-31</c:v>
                </c:pt>
                <c:pt idx="351">
                  <c:v>2014-04-30</c:v>
                </c:pt>
                <c:pt idx="352">
                  <c:v>2014-05-31</c:v>
                </c:pt>
                <c:pt idx="353">
                  <c:v>2014-06-30</c:v>
                </c:pt>
                <c:pt idx="354">
                  <c:v>2014-07-31</c:v>
                </c:pt>
                <c:pt idx="355">
                  <c:v>2014-08-31</c:v>
                </c:pt>
                <c:pt idx="356">
                  <c:v>2014-09-30</c:v>
                </c:pt>
                <c:pt idx="357">
                  <c:v>2014-10-31</c:v>
                </c:pt>
                <c:pt idx="358">
                  <c:v>2014-11-30</c:v>
                </c:pt>
                <c:pt idx="359">
                  <c:v>2014-12-31</c:v>
                </c:pt>
                <c:pt idx="360">
                  <c:v>2015-01-31</c:v>
                </c:pt>
                <c:pt idx="361">
                  <c:v>2015-02-28</c:v>
                </c:pt>
                <c:pt idx="362">
                  <c:v>2015-03-31</c:v>
                </c:pt>
                <c:pt idx="363">
                  <c:v>2015-04-30</c:v>
                </c:pt>
                <c:pt idx="364">
                  <c:v>2015-05-31</c:v>
                </c:pt>
                <c:pt idx="365">
                  <c:v>2015-06-30</c:v>
                </c:pt>
                <c:pt idx="366">
                  <c:v>2015-07-31</c:v>
                </c:pt>
                <c:pt idx="367">
                  <c:v>2015-08-31</c:v>
                </c:pt>
                <c:pt idx="368">
                  <c:v>2015-09-30</c:v>
                </c:pt>
                <c:pt idx="369">
                  <c:v>2015-10-31</c:v>
                </c:pt>
                <c:pt idx="370">
                  <c:v>2015-11-30</c:v>
                </c:pt>
                <c:pt idx="371">
                  <c:v>2015-12-31</c:v>
                </c:pt>
                <c:pt idx="372">
                  <c:v>2016-01-31</c:v>
                </c:pt>
                <c:pt idx="373">
                  <c:v>2016-02-29</c:v>
                </c:pt>
                <c:pt idx="374">
                  <c:v>2016-03-31</c:v>
                </c:pt>
                <c:pt idx="375">
                  <c:v>2016-04-30</c:v>
                </c:pt>
                <c:pt idx="376">
                  <c:v>2016-05-31</c:v>
                </c:pt>
                <c:pt idx="377">
                  <c:v>2016-06-30</c:v>
                </c:pt>
                <c:pt idx="378">
                  <c:v>2016-07-31</c:v>
                </c:pt>
                <c:pt idx="379">
                  <c:v>2016-08-31</c:v>
                </c:pt>
                <c:pt idx="380">
                  <c:v>2016-09-30</c:v>
                </c:pt>
                <c:pt idx="381">
                  <c:v>2016-10-31</c:v>
                </c:pt>
                <c:pt idx="382">
                  <c:v>2016-11-30</c:v>
                </c:pt>
                <c:pt idx="383">
                  <c:v>2016-12-31</c:v>
                </c:pt>
                <c:pt idx="384">
                  <c:v>2017-01-31</c:v>
                </c:pt>
                <c:pt idx="385">
                  <c:v>2017-02-28</c:v>
                </c:pt>
                <c:pt idx="386">
                  <c:v>2017-03-31</c:v>
                </c:pt>
                <c:pt idx="387">
                  <c:v>2017-04-30</c:v>
                </c:pt>
                <c:pt idx="388">
                  <c:v>2017-05-31</c:v>
                </c:pt>
                <c:pt idx="389">
                  <c:v>2017-06-30</c:v>
                </c:pt>
                <c:pt idx="390">
                  <c:v>2017-07-31</c:v>
                </c:pt>
                <c:pt idx="391">
                  <c:v>2017-08-31</c:v>
                </c:pt>
                <c:pt idx="392">
                  <c:v>2017-09-30</c:v>
                </c:pt>
                <c:pt idx="393">
                  <c:v>2017-10-31</c:v>
                </c:pt>
                <c:pt idx="394">
                  <c:v>2017-11-30</c:v>
                </c:pt>
                <c:pt idx="395">
                  <c:v>2017-12-31</c:v>
                </c:pt>
                <c:pt idx="396">
                  <c:v>2018-01-31</c:v>
                </c:pt>
                <c:pt idx="397">
                  <c:v>2018-02-28</c:v>
                </c:pt>
                <c:pt idx="398">
                  <c:v>2018-03-31</c:v>
                </c:pt>
                <c:pt idx="399">
                  <c:v>2018-04-30</c:v>
                </c:pt>
                <c:pt idx="400">
                  <c:v>2018-05-31</c:v>
                </c:pt>
                <c:pt idx="401">
                  <c:v>2018-06-30</c:v>
                </c:pt>
                <c:pt idx="402">
                  <c:v>2018-07-31</c:v>
                </c:pt>
                <c:pt idx="403">
                  <c:v>2018-08-31</c:v>
                </c:pt>
                <c:pt idx="404">
                  <c:v>2018-09-30</c:v>
                </c:pt>
                <c:pt idx="405">
                  <c:v>2018-10-31</c:v>
                </c:pt>
                <c:pt idx="406">
                  <c:v>2018-11-30</c:v>
                </c:pt>
                <c:pt idx="407">
                  <c:v>2018-12-31</c:v>
                </c:pt>
                <c:pt idx="408">
                  <c:v>2019-01-31</c:v>
                </c:pt>
                <c:pt idx="409">
                  <c:v>2019-02-28</c:v>
                </c:pt>
                <c:pt idx="410">
                  <c:v>2019-03-31</c:v>
                </c:pt>
                <c:pt idx="411">
                  <c:v>2019-04-30</c:v>
                </c:pt>
                <c:pt idx="412">
                  <c:v>2019-05-31</c:v>
                </c:pt>
                <c:pt idx="413">
                  <c:v>2019-06-30</c:v>
                </c:pt>
                <c:pt idx="414">
                  <c:v>2019-07-31</c:v>
                </c:pt>
                <c:pt idx="415">
                  <c:v>2019-08-31</c:v>
                </c:pt>
                <c:pt idx="416">
                  <c:v>2019-09-30</c:v>
                </c:pt>
                <c:pt idx="417">
                  <c:v>2019-10-31</c:v>
                </c:pt>
                <c:pt idx="418">
                  <c:v>2019-11-30</c:v>
                </c:pt>
                <c:pt idx="419">
                  <c:v>2019-12-31</c:v>
                </c:pt>
                <c:pt idx="420">
                  <c:v>2020-01-31</c:v>
                </c:pt>
                <c:pt idx="421">
                  <c:v>2020-02-29</c:v>
                </c:pt>
                <c:pt idx="422">
                  <c:v>2020-03-31</c:v>
                </c:pt>
                <c:pt idx="423">
                  <c:v>2020-04-30</c:v>
                </c:pt>
                <c:pt idx="424">
                  <c:v>2020-05-31</c:v>
                </c:pt>
                <c:pt idx="425">
                  <c:v>2020-06-30</c:v>
                </c:pt>
                <c:pt idx="426">
                  <c:v>2020-07-31</c:v>
                </c:pt>
                <c:pt idx="427">
                  <c:v>2020-08-31</c:v>
                </c:pt>
                <c:pt idx="428">
                  <c:v>2020-09-30</c:v>
                </c:pt>
                <c:pt idx="429">
                  <c:v>2020-10-31</c:v>
                </c:pt>
                <c:pt idx="430">
                  <c:v>2020-11-30</c:v>
                </c:pt>
                <c:pt idx="431">
                  <c:v>2020-12-31</c:v>
                </c:pt>
                <c:pt idx="432">
                  <c:v>2021-01-31</c:v>
                </c:pt>
                <c:pt idx="433">
                  <c:v>2021-02-28</c:v>
                </c:pt>
                <c:pt idx="434">
                  <c:v>2021-03-31</c:v>
                </c:pt>
                <c:pt idx="435">
                  <c:v>2021-04-30</c:v>
                </c:pt>
                <c:pt idx="436">
                  <c:v>2021-05-31</c:v>
                </c:pt>
                <c:pt idx="437">
                  <c:v>2021-06-30</c:v>
                </c:pt>
                <c:pt idx="438">
                  <c:v>2021-07-31</c:v>
                </c:pt>
                <c:pt idx="439">
                  <c:v>2021-08-31</c:v>
                </c:pt>
                <c:pt idx="440">
                  <c:v>2021-09-30</c:v>
                </c:pt>
                <c:pt idx="441">
                  <c:v>2021-10-31</c:v>
                </c:pt>
                <c:pt idx="442">
                  <c:v>2021-11-30</c:v>
                </c:pt>
                <c:pt idx="443">
                  <c:v>2021-12-31</c:v>
                </c:pt>
                <c:pt idx="444">
                  <c:v>2022-01-31</c:v>
                </c:pt>
                <c:pt idx="445">
                  <c:v>2022-02-28</c:v>
                </c:pt>
                <c:pt idx="446">
                  <c:v>2022-03-31</c:v>
                </c:pt>
                <c:pt idx="447">
                  <c:v>2022-04-30</c:v>
                </c:pt>
                <c:pt idx="448">
                  <c:v>2022-05-31</c:v>
                </c:pt>
                <c:pt idx="449">
                  <c:v>2022-06-30</c:v>
                </c:pt>
                <c:pt idx="450">
                  <c:v>2022-07-31</c:v>
                </c:pt>
                <c:pt idx="451">
                  <c:v>2022-08-31</c:v>
                </c:pt>
                <c:pt idx="452">
                  <c:v>2022-09-30</c:v>
                </c:pt>
                <c:pt idx="453">
                  <c:v>2022-10-31</c:v>
                </c:pt>
                <c:pt idx="454">
                  <c:v>2022-11-30</c:v>
                </c:pt>
                <c:pt idx="455">
                  <c:v>2022-12-31</c:v>
                </c:pt>
                <c:pt idx="456">
                  <c:v>2023-01-31</c:v>
                </c:pt>
                <c:pt idx="457">
                  <c:v>2023-02-28</c:v>
                </c:pt>
                <c:pt idx="458">
                  <c:v>2023-03-31</c:v>
                </c:pt>
                <c:pt idx="459">
                  <c:v>2023-04-30</c:v>
                </c:pt>
                <c:pt idx="460">
                  <c:v>2023-05-31</c:v>
                </c:pt>
                <c:pt idx="461">
                  <c:v>2023-06-30</c:v>
                </c:pt>
                <c:pt idx="462">
                  <c:v>2023-07-31</c:v>
                </c:pt>
                <c:pt idx="463">
                  <c:v>2023-08-31</c:v>
                </c:pt>
                <c:pt idx="464">
                  <c:v>2023-09-30</c:v>
                </c:pt>
                <c:pt idx="465">
                  <c:v>2023-10-31</c:v>
                </c:pt>
              </c:strCache>
            </c:strRef>
          </c:cat>
          <c:val>
            <c:numRef>
              <c:f>intrate!$AN$62:$AN$527</c:f>
              <c:numCache>
                <c:formatCode>0.0</c:formatCode>
                <c:ptCount val="466"/>
                <c:pt idx="0">
                  <c:v>4.6713536274015643</c:v>
                </c:pt>
                <c:pt idx="1">
                  <c:v>4.8106523216796724</c:v>
                </c:pt>
                <c:pt idx="2">
                  <c:v>4.7450532436211397</c:v>
                </c:pt>
                <c:pt idx="3">
                  <c:v>4.8403338677068248</c:v>
                </c:pt>
                <c:pt idx="4">
                  <c:v>3.9469377417852547</c:v>
                </c:pt>
                <c:pt idx="5">
                  <c:v>4.2882408622922714</c:v>
                </c:pt>
                <c:pt idx="6">
                  <c:v>4.9446743009884191</c:v>
                </c:pt>
                <c:pt idx="7">
                  <c:v>4.1623980848799658</c:v>
                </c:pt>
                <c:pt idx="8">
                  <c:v>5.2958725116877297</c:v>
                </c:pt>
                <c:pt idx="9">
                  <c:v>4.6120178621083276</c:v>
                </c:pt>
                <c:pt idx="10">
                  <c:v>5.1150161911586647</c:v>
                </c:pt>
                <c:pt idx="11">
                  <c:v>4.3187125472251058</c:v>
                </c:pt>
                <c:pt idx="12">
                  <c:v>4.2633823491684968</c:v>
                </c:pt>
                <c:pt idx="13">
                  <c:v>4.3027281407486484</c:v>
                </c:pt>
                <c:pt idx="14">
                  <c:v>3.9505978149341132</c:v>
                </c:pt>
                <c:pt idx="15">
                  <c:v>3.7236975839282827</c:v>
                </c:pt>
                <c:pt idx="16">
                  <c:v>4.1233015608790051</c:v>
                </c:pt>
                <c:pt idx="17">
                  <c:v>4.524613429017597</c:v>
                </c:pt>
                <c:pt idx="18">
                  <c:v>4.409490344023145</c:v>
                </c:pt>
                <c:pt idx="19">
                  <c:v>4.1660125895391031</c:v>
                </c:pt>
                <c:pt idx="20">
                  <c:v>4.2495547783444465</c:v>
                </c:pt>
                <c:pt idx="21">
                  <c:v>4.2692764715471894</c:v>
                </c:pt>
                <c:pt idx="22">
                  <c:v>4.3037335797151473</c:v>
                </c:pt>
                <c:pt idx="23">
                  <c:v>4.4150508391479919</c:v>
                </c:pt>
                <c:pt idx="24">
                  <c:v>4.5595742424044543</c:v>
                </c:pt>
                <c:pt idx="25">
                  <c:v>4.4712032395015839</c:v>
                </c:pt>
                <c:pt idx="26">
                  <c:v>4.2580861944379462</c:v>
                </c:pt>
                <c:pt idx="27">
                  <c:v>4.3741893342288609</c:v>
                </c:pt>
                <c:pt idx="28">
                  <c:v>4.1954650606338646</c:v>
                </c:pt>
                <c:pt idx="29">
                  <c:v>3.7696196711970011</c:v>
                </c:pt>
                <c:pt idx="30">
                  <c:v>3.2334385670851922</c:v>
                </c:pt>
                <c:pt idx="31">
                  <c:v>2.9950865768642791</c:v>
                </c:pt>
                <c:pt idx="32">
                  <c:v>3.3371484696794815</c:v>
                </c:pt>
                <c:pt idx="33">
                  <c:v>3.2108535888728014</c:v>
                </c:pt>
                <c:pt idx="34">
                  <c:v>2.5988142228808639</c:v>
                </c:pt>
                <c:pt idx="35">
                  <c:v>2.4685773722572266</c:v>
                </c:pt>
                <c:pt idx="36">
                  <c:v>2.2611070471474477</c:v>
                </c:pt>
                <c:pt idx="37">
                  <c:v>2.1930669976587254</c:v>
                </c:pt>
                <c:pt idx="38">
                  <c:v>2.5148419933009549</c:v>
                </c:pt>
                <c:pt idx="39">
                  <c:v>2.6196621940762865</c:v>
                </c:pt>
                <c:pt idx="40">
                  <c:v>3.2260993601086554</c:v>
                </c:pt>
                <c:pt idx="41">
                  <c:v>3.4918712652787227</c:v>
                </c:pt>
                <c:pt idx="42">
                  <c:v>3.7279895762538451</c:v>
                </c:pt>
                <c:pt idx="43">
                  <c:v>4.1524351277155258</c:v>
                </c:pt>
                <c:pt idx="44">
                  <c:v>4.1109607712274041</c:v>
                </c:pt>
                <c:pt idx="45">
                  <c:v>4.0533586361390448</c:v>
                </c:pt>
                <c:pt idx="46">
                  <c:v>4.2440689679926296</c:v>
                </c:pt>
                <c:pt idx="47">
                  <c:v>4.4807934619954866</c:v>
                </c:pt>
                <c:pt idx="48">
                  <c:v>4.7037617710933661</c:v>
                </c:pt>
                <c:pt idx="49">
                  <c:v>5.3193272401071141</c:v>
                </c:pt>
                <c:pt idx="50">
                  <c:v>5.1852226185981225</c:v>
                </c:pt>
                <c:pt idx="51">
                  <c:v>5.0395488493322391</c:v>
                </c:pt>
                <c:pt idx="52">
                  <c:v>4.9161152480440906</c:v>
                </c:pt>
                <c:pt idx="53">
                  <c:v>4.5411017846791308</c:v>
                </c:pt>
                <c:pt idx="54">
                  <c:v>3.9891584373297233</c:v>
                </c:pt>
                <c:pt idx="55">
                  <c:v>4.0094424129889488</c:v>
                </c:pt>
                <c:pt idx="56">
                  <c:v>4.1157712729630118</c:v>
                </c:pt>
                <c:pt idx="57">
                  <c:v>3.9084901580833149</c:v>
                </c:pt>
                <c:pt idx="58">
                  <c:v>3.7762689970379339</c:v>
                </c:pt>
                <c:pt idx="59">
                  <c:v>3.6133004338478329</c:v>
                </c:pt>
                <c:pt idx="60">
                  <c:v>3.5760655696575272</c:v>
                </c:pt>
                <c:pt idx="61">
                  <c:v>3.4831863126915863</c:v>
                </c:pt>
                <c:pt idx="62">
                  <c:v>3.3344419941193877</c:v>
                </c:pt>
                <c:pt idx="63">
                  <c:v>3.2979246453374769</c:v>
                </c:pt>
                <c:pt idx="64">
                  <c:v>3.3467838292749592</c:v>
                </c:pt>
                <c:pt idx="65">
                  <c:v>3.3423925996972415</c:v>
                </c:pt>
                <c:pt idx="66">
                  <c:v>3.1555861019183098</c:v>
                </c:pt>
                <c:pt idx="67">
                  <c:v>3.0964494963594689</c:v>
                </c:pt>
                <c:pt idx="68">
                  <c:v>2.9419550837129735</c:v>
                </c:pt>
                <c:pt idx="69">
                  <c:v>2.4289230261621952</c:v>
                </c:pt>
                <c:pt idx="70">
                  <c:v>1.8600984767574333</c:v>
                </c:pt>
                <c:pt idx="71">
                  <c:v>1.1213293789039582</c:v>
                </c:pt>
                <c:pt idx="72">
                  <c:v>0.73327267217476599</c:v>
                </c:pt>
                <c:pt idx="73">
                  <c:v>0.28418559352307682</c:v>
                </c:pt>
                <c:pt idx="74">
                  <c:v>0.24500144433892501</c:v>
                </c:pt>
                <c:pt idx="75">
                  <c:v>0.22871798096519047</c:v>
                </c:pt>
                <c:pt idx="76">
                  <c:v>0.4489281335016031</c:v>
                </c:pt>
                <c:pt idx="77">
                  <c:v>0.68398562195782375</c:v>
                </c:pt>
                <c:pt idx="78">
                  <c:v>0.88459205613130631</c:v>
                </c:pt>
                <c:pt idx="79">
                  <c:v>0.88677670658723695</c:v>
                </c:pt>
                <c:pt idx="80">
                  <c:v>0.8874428954599054</c:v>
                </c:pt>
                <c:pt idx="81">
                  <c:v>0.96513645926542591</c:v>
                </c:pt>
                <c:pt idx="82">
                  <c:v>1.0424737508809963</c:v>
                </c:pt>
                <c:pt idx="83">
                  <c:v>0.5644145677218213</c:v>
                </c:pt>
                <c:pt idx="84">
                  <c:v>0.87234049837448646</c:v>
                </c:pt>
                <c:pt idx="85">
                  <c:v>1.0357406649314194</c:v>
                </c:pt>
                <c:pt idx="86">
                  <c:v>1.070061094378699</c:v>
                </c:pt>
                <c:pt idx="87">
                  <c:v>0.77687358468297907</c:v>
                </c:pt>
                <c:pt idx="88">
                  <c:v>0.77119655164374734</c:v>
                </c:pt>
                <c:pt idx="89">
                  <c:v>0.76720317551900985</c:v>
                </c:pt>
                <c:pt idx="90">
                  <c:v>0.17439905839089898</c:v>
                </c:pt>
                <c:pt idx="91">
                  <c:v>0.11958473918184609</c:v>
                </c:pt>
                <c:pt idx="92">
                  <c:v>-9.7607428690591913E-2</c:v>
                </c:pt>
                <c:pt idx="93">
                  <c:v>-0.10125002764726565</c:v>
                </c:pt>
                <c:pt idx="94">
                  <c:v>-0.1052994744250455</c:v>
                </c:pt>
                <c:pt idx="95">
                  <c:v>-7.4035699879696271E-2</c:v>
                </c:pt>
                <c:pt idx="96">
                  <c:v>-9.0933441164729345E-2</c:v>
                </c:pt>
                <c:pt idx="97">
                  <c:v>-0.10741281342741393</c:v>
                </c:pt>
                <c:pt idx="98">
                  <c:v>-0.12383359566708174</c:v>
                </c:pt>
                <c:pt idx="99">
                  <c:v>-0.12774650984904667</c:v>
                </c:pt>
                <c:pt idx="100">
                  <c:v>-0.15662863648782377</c:v>
                </c:pt>
                <c:pt idx="101">
                  <c:v>-0.17247326191846435</c:v>
                </c:pt>
                <c:pt idx="102">
                  <c:v>-9.2021992659250262E-2</c:v>
                </c:pt>
                <c:pt idx="103">
                  <c:v>-1.2216536700494718E-2</c:v>
                </c:pt>
                <c:pt idx="104">
                  <c:v>5.4041691385980695E-2</c:v>
                </c:pt>
                <c:pt idx="105">
                  <c:v>0.13328399843665073</c:v>
                </c:pt>
                <c:pt idx="106">
                  <c:v>0.22413931885834382</c:v>
                </c:pt>
                <c:pt idx="107">
                  <c:v>0.26535698937634811</c:v>
                </c:pt>
                <c:pt idx="108">
                  <c:v>0.30723307807978495</c:v>
                </c:pt>
                <c:pt idx="109">
                  <c:v>0.59926595150653128</c:v>
                </c:pt>
                <c:pt idx="110">
                  <c:v>0.87965757301288994</c:v>
                </c:pt>
                <c:pt idx="111">
                  <c:v>1.1945311560458478</c:v>
                </c:pt>
                <c:pt idx="112">
                  <c:v>1.7591258439141626</c:v>
                </c:pt>
                <c:pt idx="113">
                  <c:v>1.80168244126043</c:v>
                </c:pt>
                <c:pt idx="114">
                  <c:v>1.7607592874321085</c:v>
                </c:pt>
                <c:pt idx="115">
                  <c:v>2.1966210848075107</c:v>
                </c:pt>
                <c:pt idx="116">
                  <c:v>2.120536138428522</c:v>
                </c:pt>
                <c:pt idx="117">
                  <c:v>2.079371518077219</c:v>
                </c:pt>
                <c:pt idx="118">
                  <c:v>2.764970033323344</c:v>
                </c:pt>
                <c:pt idx="119">
                  <c:v>2.7346663121403787</c:v>
                </c:pt>
                <c:pt idx="120">
                  <c:v>2.7289505683926429</c:v>
                </c:pt>
                <c:pt idx="121">
                  <c:v>3.2352117019120166</c:v>
                </c:pt>
                <c:pt idx="122">
                  <c:v>3.2535804680802727</c:v>
                </c:pt>
                <c:pt idx="123">
                  <c:v>3.179444068279814</c:v>
                </c:pt>
                <c:pt idx="124">
                  <c:v>3.0941868085090576</c:v>
                </c:pt>
                <c:pt idx="125">
                  <c:v>3.0332462383092249</c:v>
                </c:pt>
                <c:pt idx="126">
                  <c:v>2.790175293388915</c:v>
                </c:pt>
                <c:pt idx="127">
                  <c:v>2.8310979634959232</c:v>
                </c:pt>
                <c:pt idx="128">
                  <c:v>2.8827235479593867</c:v>
                </c:pt>
                <c:pt idx="129">
                  <c:v>2.9233156618805061</c:v>
                </c:pt>
                <c:pt idx="130">
                  <c:v>3.0201873714012373</c:v>
                </c:pt>
                <c:pt idx="131">
                  <c:v>2.8538757692178911</c:v>
                </c:pt>
                <c:pt idx="132">
                  <c:v>2.6096967119386179</c:v>
                </c:pt>
                <c:pt idx="133">
                  <c:v>2.6041446403265334</c:v>
                </c:pt>
                <c:pt idx="134">
                  <c:v>2.5547027807113523</c:v>
                </c:pt>
                <c:pt idx="135">
                  <c:v>2.5401564507973595</c:v>
                </c:pt>
                <c:pt idx="136">
                  <c:v>2.4925360237847727</c:v>
                </c:pt>
                <c:pt idx="137">
                  <c:v>2.4565879892822573</c:v>
                </c:pt>
                <c:pt idx="138">
                  <c:v>2.4194309736232285</c:v>
                </c:pt>
                <c:pt idx="139">
                  <c:v>2.3816083490191318</c:v>
                </c:pt>
                <c:pt idx="140">
                  <c:v>2.3545329414221476</c:v>
                </c:pt>
                <c:pt idx="141">
                  <c:v>2.3384994959118024</c:v>
                </c:pt>
                <c:pt idx="142">
                  <c:v>2.2777869375091178</c:v>
                </c:pt>
                <c:pt idx="143">
                  <c:v>2.1830574026129739</c:v>
                </c:pt>
                <c:pt idx="144">
                  <c:v>2.1675204395053029</c:v>
                </c:pt>
                <c:pt idx="145">
                  <c:v>2.1414341426293149</c:v>
                </c:pt>
                <c:pt idx="146">
                  <c:v>2.4315824271670388</c:v>
                </c:pt>
                <c:pt idx="147">
                  <c:v>2.5145227047557719</c:v>
                </c:pt>
                <c:pt idx="148">
                  <c:v>2.684558491260669</c:v>
                </c:pt>
                <c:pt idx="149">
                  <c:v>2.8554071636964289</c:v>
                </c:pt>
                <c:pt idx="150">
                  <c:v>2.9911975116497374</c:v>
                </c:pt>
                <c:pt idx="151">
                  <c:v>3.1260588355479748</c:v>
                </c:pt>
                <c:pt idx="152">
                  <c:v>3.2272413605200376</c:v>
                </c:pt>
                <c:pt idx="153">
                  <c:v>3.2956667164591971</c:v>
                </c:pt>
                <c:pt idx="154">
                  <c:v>3.3634157572626933</c:v>
                </c:pt>
                <c:pt idx="155">
                  <c:v>3.4625803523838528</c:v>
                </c:pt>
                <c:pt idx="156">
                  <c:v>3.5722404494532229</c:v>
                </c:pt>
                <c:pt idx="157">
                  <c:v>3.7028979365700367</c:v>
                </c:pt>
                <c:pt idx="158">
                  <c:v>3.8328356214031585</c:v>
                </c:pt>
                <c:pt idx="159">
                  <c:v>3.9409929600004929</c:v>
                </c:pt>
                <c:pt idx="160">
                  <c:v>3.9646685263696595</c:v>
                </c:pt>
                <c:pt idx="161">
                  <c:v>3.9676775439824468</c:v>
                </c:pt>
                <c:pt idx="162">
                  <c:v>3.9491935089802652</c:v>
                </c:pt>
                <c:pt idx="163">
                  <c:v>3.9198913979813765</c:v>
                </c:pt>
                <c:pt idx="164">
                  <c:v>3.6509191068316627</c:v>
                </c:pt>
                <c:pt idx="165">
                  <c:v>3.392678582404689</c:v>
                </c:pt>
                <c:pt idx="166">
                  <c:v>3.1657549749328409</c:v>
                </c:pt>
                <c:pt idx="167">
                  <c:v>3.1778280704680881</c:v>
                </c:pt>
                <c:pt idx="168">
                  <c:v>3.1797365557091339</c:v>
                </c:pt>
                <c:pt idx="169">
                  <c:v>3.1815675284960134</c:v>
                </c:pt>
                <c:pt idx="170">
                  <c:v>3.1419958410185158</c:v>
                </c:pt>
                <c:pt idx="171">
                  <c:v>3.0100334140065854</c:v>
                </c:pt>
                <c:pt idx="172">
                  <c:v>2.9199560019477504</c:v>
                </c:pt>
                <c:pt idx="173">
                  <c:v>3.1114081855733815</c:v>
                </c:pt>
                <c:pt idx="174">
                  <c:v>3.0324388915851586</c:v>
                </c:pt>
                <c:pt idx="175">
                  <c:v>3.1726968417883916</c:v>
                </c:pt>
                <c:pt idx="176">
                  <c:v>3.0223471773838164</c:v>
                </c:pt>
                <c:pt idx="177">
                  <c:v>2.9750050885783117</c:v>
                </c:pt>
                <c:pt idx="178">
                  <c:v>3.136088566734955</c:v>
                </c:pt>
                <c:pt idx="179">
                  <c:v>3.0158596376782563</c:v>
                </c:pt>
                <c:pt idx="180">
                  <c:v>2.9168122331615698</c:v>
                </c:pt>
                <c:pt idx="181">
                  <c:v>3.007228464239013</c:v>
                </c:pt>
                <c:pt idx="182">
                  <c:v>3.0690261476748382</c:v>
                </c:pt>
                <c:pt idx="183">
                  <c:v>2.984423406340563</c:v>
                </c:pt>
                <c:pt idx="184">
                  <c:v>3.3899271093920356</c:v>
                </c:pt>
                <c:pt idx="185">
                  <c:v>3.2156135280084541</c:v>
                </c:pt>
                <c:pt idx="186">
                  <c:v>3.0622175486528938</c:v>
                </c:pt>
                <c:pt idx="187">
                  <c:v>3.0306764551919394</c:v>
                </c:pt>
                <c:pt idx="188">
                  <c:v>3.0811995539580415</c:v>
                </c:pt>
                <c:pt idx="189">
                  <c:v>3.0179189199068381</c:v>
                </c:pt>
                <c:pt idx="190">
                  <c:v>2.9750359241676136</c:v>
                </c:pt>
                <c:pt idx="191">
                  <c:v>3.0323085870890387</c:v>
                </c:pt>
                <c:pt idx="192">
                  <c:v>2.0201486967922215</c:v>
                </c:pt>
                <c:pt idx="193">
                  <c:v>1.9997423892342781</c:v>
                </c:pt>
                <c:pt idx="194">
                  <c:v>1.5887217921202108</c:v>
                </c:pt>
                <c:pt idx="195">
                  <c:v>1.1185813515407332</c:v>
                </c:pt>
                <c:pt idx="196">
                  <c:v>0.59042578917148125</c:v>
                </c:pt>
                <c:pt idx="197">
                  <c:v>0.36351735723370604</c:v>
                </c:pt>
                <c:pt idx="198">
                  <c:v>0.53223737069108301</c:v>
                </c:pt>
                <c:pt idx="199">
                  <c:v>0.41784762022212396</c:v>
                </c:pt>
                <c:pt idx="200">
                  <c:v>-3.6766271670835238E-2</c:v>
                </c:pt>
                <c:pt idx="201">
                  <c:v>-0.34631931768139657</c:v>
                </c:pt>
                <c:pt idx="202">
                  <c:v>-0.55970298902964322</c:v>
                </c:pt>
                <c:pt idx="203">
                  <c:v>-0.52694703522000674</c:v>
                </c:pt>
                <c:pt idx="204">
                  <c:v>-0.26399654308500198</c:v>
                </c:pt>
                <c:pt idx="205">
                  <c:v>-2.8804647690816587E-4</c:v>
                </c:pt>
                <c:pt idx="206">
                  <c:v>0.19515331773757549</c:v>
                </c:pt>
                <c:pt idx="207">
                  <c:v>0.27633540428992842</c:v>
                </c:pt>
                <c:pt idx="208">
                  <c:v>0.39528463010178183</c:v>
                </c:pt>
                <c:pt idx="209">
                  <c:v>0.47600269803410566</c:v>
                </c:pt>
                <c:pt idx="210">
                  <c:v>0.42223865173460484</c:v>
                </c:pt>
                <c:pt idx="211">
                  <c:v>0.31137857279300118</c:v>
                </c:pt>
                <c:pt idx="212">
                  <c:v>0.30492760197494806</c:v>
                </c:pt>
                <c:pt idx="213">
                  <c:v>0.24050392481290817</c:v>
                </c:pt>
                <c:pt idx="214">
                  <c:v>-0.42893851234128522</c:v>
                </c:pt>
                <c:pt idx="215">
                  <c:v>-0.64718756011475875</c:v>
                </c:pt>
                <c:pt idx="216">
                  <c:v>-0.83595653761612931</c:v>
                </c:pt>
                <c:pt idx="217">
                  <c:v>-1.0322999524357548</c:v>
                </c:pt>
                <c:pt idx="218">
                  <c:v>-1.2832720340266164</c:v>
                </c:pt>
                <c:pt idx="219">
                  <c:v>-1.3164066639088339</c:v>
                </c:pt>
                <c:pt idx="220">
                  <c:v>-1.2929767306956372</c:v>
                </c:pt>
                <c:pt idx="221">
                  <c:v>-1.4988724949588104</c:v>
                </c:pt>
                <c:pt idx="222">
                  <c:v>-1.4176285491951526</c:v>
                </c:pt>
                <c:pt idx="223">
                  <c:v>-1.2805278810232821</c:v>
                </c:pt>
                <c:pt idx="224">
                  <c:v>-1.1639125078170118</c:v>
                </c:pt>
                <c:pt idx="225">
                  <c:v>-1.1332662114786771</c:v>
                </c:pt>
                <c:pt idx="226">
                  <c:v>-1.0844642597687297</c:v>
                </c:pt>
                <c:pt idx="227">
                  <c:v>-1.045665397964278</c:v>
                </c:pt>
                <c:pt idx="228">
                  <c:v>-1.0150509214677519</c:v>
                </c:pt>
                <c:pt idx="229">
                  <c:v>-0.93751600783666333</c:v>
                </c:pt>
                <c:pt idx="230">
                  <c:v>-0.8403160310318849</c:v>
                </c:pt>
                <c:pt idx="231">
                  <c:v>-0.88102872524994069</c:v>
                </c:pt>
                <c:pt idx="232">
                  <c:v>-1.0954855220344939</c:v>
                </c:pt>
                <c:pt idx="233">
                  <c:v>-1.0766027639063438</c:v>
                </c:pt>
                <c:pt idx="234">
                  <c:v>-1.2540200608608032</c:v>
                </c:pt>
                <c:pt idx="235">
                  <c:v>-1.1642407218853088</c:v>
                </c:pt>
                <c:pt idx="236">
                  <c:v>-1.0476665299053587</c:v>
                </c:pt>
                <c:pt idx="237">
                  <c:v>-1.1983493127970681</c:v>
                </c:pt>
                <c:pt idx="238">
                  <c:v>-1.0268933316614173</c:v>
                </c:pt>
                <c:pt idx="239">
                  <c:v>-0.77512111523007343</c:v>
                </c:pt>
                <c:pt idx="240">
                  <c:v>-0.77162221080311388</c:v>
                </c:pt>
                <c:pt idx="241">
                  <c:v>-0.58047736602595057</c:v>
                </c:pt>
                <c:pt idx="242">
                  <c:v>-0.43223550072202466</c:v>
                </c:pt>
                <c:pt idx="243">
                  <c:v>-0.48581035216921498</c:v>
                </c:pt>
                <c:pt idx="244">
                  <c:v>-0.11576279174296866</c:v>
                </c:pt>
                <c:pt idx="245">
                  <c:v>0.25511230275326602</c:v>
                </c:pt>
                <c:pt idx="246">
                  <c:v>0.22208960138035616</c:v>
                </c:pt>
                <c:pt idx="247">
                  <c:v>0.36648257590109301</c:v>
                </c:pt>
                <c:pt idx="248">
                  <c:v>0.36009400688323012</c:v>
                </c:pt>
                <c:pt idx="249">
                  <c:v>0.22056270870253547</c:v>
                </c:pt>
                <c:pt idx="250">
                  <c:v>0.36177145630185015</c:v>
                </c:pt>
                <c:pt idx="251">
                  <c:v>0.4642133783638891</c:v>
                </c:pt>
                <c:pt idx="252">
                  <c:v>0.57797694086643991</c:v>
                </c:pt>
                <c:pt idx="253">
                  <c:v>0.5852542003248189</c:v>
                </c:pt>
                <c:pt idx="254">
                  <c:v>1.0559256113223938</c:v>
                </c:pt>
                <c:pt idx="255">
                  <c:v>1.189607485698668</c:v>
                </c:pt>
                <c:pt idx="256">
                  <c:v>1.3210792716207131</c:v>
                </c:pt>
                <c:pt idx="257">
                  <c:v>1.42056150798498</c:v>
                </c:pt>
                <c:pt idx="258">
                  <c:v>1.3938905689586036</c:v>
                </c:pt>
                <c:pt idx="259">
                  <c:v>1.3570172559989451</c:v>
                </c:pt>
                <c:pt idx="260">
                  <c:v>1.573729670510152</c:v>
                </c:pt>
                <c:pt idx="261">
                  <c:v>1.9471486633709389</c:v>
                </c:pt>
                <c:pt idx="262">
                  <c:v>2.3126457393943292</c:v>
                </c:pt>
                <c:pt idx="263">
                  <c:v>2.6089983494499953</c:v>
                </c:pt>
                <c:pt idx="264">
                  <c:v>2.953948336313772</c:v>
                </c:pt>
                <c:pt idx="265">
                  <c:v>3.18787141610157</c:v>
                </c:pt>
                <c:pt idx="266">
                  <c:v>3.0684706605505809</c:v>
                </c:pt>
                <c:pt idx="267">
                  <c:v>2.8570579293943603</c:v>
                </c:pt>
                <c:pt idx="268">
                  <c:v>2.7375279315602725</c:v>
                </c:pt>
                <c:pt idx="269">
                  <c:v>2.7131300076894598</c:v>
                </c:pt>
                <c:pt idx="270">
                  <c:v>2.6660320088516727</c:v>
                </c:pt>
                <c:pt idx="271">
                  <c:v>2.7402179118426631</c:v>
                </c:pt>
                <c:pt idx="272">
                  <c:v>2.2441724167007329</c:v>
                </c:pt>
                <c:pt idx="273">
                  <c:v>1.8337595567578382</c:v>
                </c:pt>
                <c:pt idx="274">
                  <c:v>1.5645363440220783</c:v>
                </c:pt>
                <c:pt idx="275">
                  <c:v>1.0821645718510333</c:v>
                </c:pt>
                <c:pt idx="276">
                  <c:v>-0.48817927642736469</c:v>
                </c:pt>
                <c:pt idx="277">
                  <c:v>-0.83092461623498082</c:v>
                </c:pt>
                <c:pt idx="278">
                  <c:v>-1.7853253631718715</c:v>
                </c:pt>
                <c:pt idx="279">
                  <c:v>-2.1021112539549831</c:v>
                </c:pt>
                <c:pt idx="280">
                  <c:v>-2.0803345152646671</c:v>
                </c:pt>
                <c:pt idx="281">
                  <c:v>-2.2370880927407581</c:v>
                </c:pt>
                <c:pt idx="282">
                  <c:v>-2.4570595681328582</c:v>
                </c:pt>
                <c:pt idx="283">
                  <c:v>-2.6812761851684614</c:v>
                </c:pt>
                <c:pt idx="284">
                  <c:v>-2.8405213850552116</c:v>
                </c:pt>
                <c:pt idx="285">
                  <c:v>-3.7935708021068777</c:v>
                </c:pt>
                <c:pt idx="286">
                  <c:v>-3.2759094104408559</c:v>
                </c:pt>
                <c:pt idx="287">
                  <c:v>-3.3291798859464996</c:v>
                </c:pt>
                <c:pt idx="288">
                  <c:v>-2.4008004865200547</c:v>
                </c:pt>
                <c:pt idx="289">
                  <c:v>-1.5448564819826416</c:v>
                </c:pt>
                <c:pt idx="290">
                  <c:v>-0.65810920106771198</c:v>
                </c:pt>
                <c:pt idx="291">
                  <c:v>7.3902797657990987E-2</c:v>
                </c:pt>
                <c:pt idx="292">
                  <c:v>0.46573787945232442</c:v>
                </c:pt>
                <c:pt idx="293">
                  <c:v>0.71876937017490405</c:v>
                </c:pt>
                <c:pt idx="294">
                  <c:v>1.0732706797367939</c:v>
                </c:pt>
                <c:pt idx="295">
                  <c:v>1.3600272964032076</c:v>
                </c:pt>
                <c:pt idx="296">
                  <c:v>1.5104689150241011</c:v>
                </c:pt>
                <c:pt idx="297">
                  <c:v>1.4181293420690035</c:v>
                </c:pt>
                <c:pt idx="298">
                  <c:v>0.89817406405418632</c:v>
                </c:pt>
                <c:pt idx="299">
                  <c:v>0.20682286907157038</c:v>
                </c:pt>
                <c:pt idx="300">
                  <c:v>-0.58032213036737568</c:v>
                </c:pt>
                <c:pt idx="301">
                  <c:v>-1.1849355287183723</c:v>
                </c:pt>
                <c:pt idx="302">
                  <c:v>-1.7849630976494879</c:v>
                </c:pt>
                <c:pt idx="303">
                  <c:v>-2.1881790098385232</c:v>
                </c:pt>
                <c:pt idx="304">
                  <c:v>-2.2186273789991375</c:v>
                </c:pt>
                <c:pt idx="305">
                  <c:v>-1.9406303534391092</c:v>
                </c:pt>
                <c:pt idx="306">
                  <c:v>-1.7088777093297505</c:v>
                </c:pt>
                <c:pt idx="307">
                  <c:v>-1.5430065066120566</c:v>
                </c:pt>
                <c:pt idx="308">
                  <c:v>-1.3479603751479441</c:v>
                </c:pt>
                <c:pt idx="309">
                  <c:v>-1.1705837767944232</c:v>
                </c:pt>
                <c:pt idx="310">
                  <c:v>-1.0242795813738066</c:v>
                </c:pt>
                <c:pt idx="311">
                  <c:v>-1.0980086737852492</c:v>
                </c:pt>
                <c:pt idx="312">
                  <c:v>-1.1641176869764678</c:v>
                </c:pt>
                <c:pt idx="313">
                  <c:v>-1.3240310314462935</c:v>
                </c:pt>
                <c:pt idx="314">
                  <c:v>-1.5803511324598887</c:v>
                </c:pt>
                <c:pt idx="315">
                  <c:v>-1.91225834141814</c:v>
                </c:pt>
                <c:pt idx="316">
                  <c:v>-2.3165058202621864</c:v>
                </c:pt>
                <c:pt idx="317">
                  <c:v>-2.6603566077501903</c:v>
                </c:pt>
                <c:pt idx="318">
                  <c:v>-2.9931681285455745</c:v>
                </c:pt>
                <c:pt idx="319">
                  <c:v>-3.270438720289178</c:v>
                </c:pt>
                <c:pt idx="320">
                  <c:v>-3.4682309830890858</c:v>
                </c:pt>
                <c:pt idx="321">
                  <c:v>-3.5284924934359077</c:v>
                </c:pt>
                <c:pt idx="322">
                  <c:v>-3.4994477944636251</c:v>
                </c:pt>
                <c:pt idx="323">
                  <c:v>-3.4000462265684184</c:v>
                </c:pt>
                <c:pt idx="324">
                  <c:v>-3.2827963482233784</c:v>
                </c:pt>
                <c:pt idx="325">
                  <c:v>-3.1327781151097818</c:v>
                </c:pt>
                <c:pt idx="326">
                  <c:v>-2.929951673773362</c:v>
                </c:pt>
                <c:pt idx="327">
                  <c:v>-2.7262083220969515</c:v>
                </c:pt>
                <c:pt idx="328">
                  <c:v>-2.4445210194530751</c:v>
                </c:pt>
                <c:pt idx="329">
                  <c:v>-2.2281168390143122</c:v>
                </c:pt>
                <c:pt idx="330">
                  <c:v>-1.9753225043600628</c:v>
                </c:pt>
                <c:pt idx="331">
                  <c:v>-1.778869207212054</c:v>
                </c:pt>
                <c:pt idx="332">
                  <c:v>-1.6688498551525892</c:v>
                </c:pt>
                <c:pt idx="333">
                  <c:v>-1.645450486414622</c:v>
                </c:pt>
                <c:pt idx="334">
                  <c:v>-1.6554304982726624</c:v>
                </c:pt>
                <c:pt idx="335">
                  <c:v>-1.6682685993575035</c:v>
                </c:pt>
                <c:pt idx="336">
                  <c:v>-1.6993375933403716</c:v>
                </c:pt>
                <c:pt idx="337">
                  <c:v>-1.7469283453735234</c:v>
                </c:pt>
                <c:pt idx="338">
                  <c:v>-1.6606973673621539</c:v>
                </c:pt>
                <c:pt idx="339">
                  <c:v>-1.4774876644652057</c:v>
                </c:pt>
                <c:pt idx="340">
                  <c:v>-1.4104595332595149</c:v>
                </c:pt>
                <c:pt idx="341">
                  <c:v>-1.4126918960310704</c:v>
                </c:pt>
                <c:pt idx="342">
                  <c:v>-1.4736613866513768</c:v>
                </c:pt>
                <c:pt idx="343">
                  <c:v>-1.3970687282837322</c:v>
                </c:pt>
                <c:pt idx="344">
                  <c:v>-1.3489069031096317</c:v>
                </c:pt>
                <c:pt idx="345">
                  <c:v>-1.3323281236352902</c:v>
                </c:pt>
                <c:pt idx="346">
                  <c:v>-1.3115126479156582</c:v>
                </c:pt>
                <c:pt idx="347">
                  <c:v>-1.2693991602892396</c:v>
                </c:pt>
                <c:pt idx="348">
                  <c:v>-1.2057767863853499</c:v>
                </c:pt>
                <c:pt idx="349">
                  <c:v>-1.1404404014790732</c:v>
                </c:pt>
                <c:pt idx="350">
                  <c:v>-1.1949866705142256</c:v>
                </c:pt>
                <c:pt idx="351">
                  <c:v>-1.3598608694931187</c:v>
                </c:pt>
                <c:pt idx="352">
                  <c:v>-1.5082007603935803</c:v>
                </c:pt>
                <c:pt idx="353">
                  <c:v>-1.6033017193183572</c:v>
                </c:pt>
                <c:pt idx="354">
                  <c:v>-1.6721985972088997</c:v>
                </c:pt>
                <c:pt idx="355">
                  <c:v>-1.7677422778851148</c:v>
                </c:pt>
                <c:pt idx="356">
                  <c:v>-1.7920282445437721</c:v>
                </c:pt>
                <c:pt idx="357">
                  <c:v>-1.7439419640629861</c:v>
                </c:pt>
                <c:pt idx="358">
                  <c:v>-1.6098159028020238</c:v>
                </c:pt>
                <c:pt idx="359">
                  <c:v>-1.3905078855501405</c:v>
                </c:pt>
                <c:pt idx="360">
                  <c:v>-1.0435617274111475</c:v>
                </c:pt>
                <c:pt idx="361">
                  <c:v>-0.75610487141479155</c:v>
                </c:pt>
                <c:pt idx="362">
                  <c:v>-0.46751219365121466</c:v>
                </c:pt>
                <c:pt idx="363">
                  <c:v>-0.15686925001642749</c:v>
                </c:pt>
                <c:pt idx="364">
                  <c:v>7.0178737853851203E-2</c:v>
                </c:pt>
                <c:pt idx="365">
                  <c:v>0.17563241551556766</c:v>
                </c:pt>
                <c:pt idx="366">
                  <c:v>0.13247940006342182</c:v>
                </c:pt>
                <c:pt idx="367">
                  <c:v>9.5777884259914473E-2</c:v>
                </c:pt>
                <c:pt idx="368">
                  <c:v>8.9526610416503644E-2</c:v>
                </c:pt>
                <c:pt idx="369">
                  <c:v>2.7844630097796141E-2</c:v>
                </c:pt>
                <c:pt idx="370">
                  <c:v>-6.2443757155314472E-2</c:v>
                </c:pt>
                <c:pt idx="371">
                  <c:v>8.6598145785328484E-2</c:v>
                </c:pt>
                <c:pt idx="372">
                  <c:v>-0.11398802657929963</c:v>
                </c:pt>
                <c:pt idx="373">
                  <c:v>-0.25110810777258996</c:v>
                </c:pt>
                <c:pt idx="374">
                  <c:v>-0.39921910259737581</c:v>
                </c:pt>
                <c:pt idx="375">
                  <c:v>-0.55830843312385292</c:v>
                </c:pt>
                <c:pt idx="376">
                  <c:v>-0.64456259571146535</c:v>
                </c:pt>
                <c:pt idx="377">
                  <c:v>-0.68919704712504881</c:v>
                </c:pt>
                <c:pt idx="378">
                  <c:v>-0.59820572323633314</c:v>
                </c:pt>
                <c:pt idx="379">
                  <c:v>-0.60571817700225949</c:v>
                </c:pt>
                <c:pt idx="380">
                  <c:v>-0.70759274805872963</c:v>
                </c:pt>
                <c:pt idx="381">
                  <c:v>-0.7927389317292608</c:v>
                </c:pt>
                <c:pt idx="382">
                  <c:v>-0.9049413664476329</c:v>
                </c:pt>
                <c:pt idx="383">
                  <c:v>-0.83449063952160429</c:v>
                </c:pt>
                <c:pt idx="384">
                  <c:v>-1.1133078626139863</c:v>
                </c:pt>
                <c:pt idx="385">
                  <c:v>-1.3924884740687014</c:v>
                </c:pt>
                <c:pt idx="386">
                  <c:v>-1.2952932717284873</c:v>
                </c:pt>
                <c:pt idx="387">
                  <c:v>-1.3892436646451025</c:v>
                </c:pt>
                <c:pt idx="388">
                  <c:v>-1.4196337577013645</c:v>
                </c:pt>
                <c:pt idx="389">
                  <c:v>-1.0961113947496224</c:v>
                </c:pt>
                <c:pt idx="390">
                  <c:v>-0.96743410263620655</c:v>
                </c:pt>
                <c:pt idx="391">
                  <c:v>-0.83427010939768098</c:v>
                </c:pt>
                <c:pt idx="392">
                  <c:v>-0.80966201465817278</c:v>
                </c:pt>
                <c:pt idx="393">
                  <c:v>-0.78323515191798276</c:v>
                </c:pt>
                <c:pt idx="394">
                  <c:v>-0.83785268822495129</c:v>
                </c:pt>
                <c:pt idx="395">
                  <c:v>-0.66711844144361043</c:v>
                </c:pt>
                <c:pt idx="396">
                  <c:v>-0.72420663542738817</c:v>
                </c:pt>
                <c:pt idx="397">
                  <c:v>-0.76967683695747047</c:v>
                </c:pt>
                <c:pt idx="398">
                  <c:v>-0.54080142678575038</c:v>
                </c:pt>
                <c:pt idx="399">
                  <c:v>-0.61107063367885894</c:v>
                </c:pt>
                <c:pt idx="400">
                  <c:v>-0.71080876303292229</c:v>
                </c:pt>
                <c:pt idx="401">
                  <c:v>-0.58788632315763323</c:v>
                </c:pt>
                <c:pt idx="402">
                  <c:v>-0.73438756755295742</c:v>
                </c:pt>
                <c:pt idx="403">
                  <c:v>-0.81561834804441924</c:v>
                </c:pt>
                <c:pt idx="404">
                  <c:v>-0.5518284797487687</c:v>
                </c:pt>
                <c:pt idx="405">
                  <c:v>-0.56178281062747004</c:v>
                </c:pt>
                <c:pt idx="406">
                  <c:v>-0.45771436351827788</c:v>
                </c:pt>
                <c:pt idx="407">
                  <c:v>-4.7482865737391133E-2</c:v>
                </c:pt>
                <c:pt idx="408">
                  <c:v>0.18556379233727194</c:v>
                </c:pt>
                <c:pt idx="409">
                  <c:v>0.38207126537962677</c:v>
                </c:pt>
                <c:pt idx="410">
                  <c:v>0.45114617431793147</c:v>
                </c:pt>
                <c:pt idx="411">
                  <c:v>0.53881786649739172</c:v>
                </c:pt>
                <c:pt idx="412">
                  <c:v>0.60321329372839227</c:v>
                </c:pt>
                <c:pt idx="413">
                  <c:v>0.64682565915424561</c:v>
                </c:pt>
                <c:pt idx="414">
                  <c:v>0.60345404778851486</c:v>
                </c:pt>
                <c:pt idx="415">
                  <c:v>0.31517994387254089</c:v>
                </c:pt>
                <c:pt idx="416">
                  <c:v>9.0382981772483051E-2</c:v>
                </c:pt>
                <c:pt idx="417">
                  <c:v>-0.1208842130427048</c:v>
                </c:pt>
                <c:pt idx="418">
                  <c:v>-0.16439246523024065</c:v>
                </c:pt>
                <c:pt idx="419">
                  <c:v>-0.27049997923781888</c:v>
                </c:pt>
                <c:pt idx="420">
                  <c:v>-0.38301783738064188</c:v>
                </c:pt>
                <c:pt idx="421">
                  <c:v>-0.48053344980010815</c:v>
                </c:pt>
                <c:pt idx="422">
                  <c:v>-1.9518705295918224</c:v>
                </c:pt>
                <c:pt idx="423">
                  <c:v>-1.7127128199110615</c:v>
                </c:pt>
                <c:pt idx="424">
                  <c:v>-1.3904875512975774</c:v>
                </c:pt>
                <c:pt idx="425">
                  <c:v>-1.1172547692032044</c:v>
                </c:pt>
                <c:pt idx="426">
                  <c:v>-0.86717308087874778</c:v>
                </c:pt>
                <c:pt idx="427">
                  <c:v>-0.69630171727620882</c:v>
                </c:pt>
                <c:pt idx="428">
                  <c:v>-0.66830136213231839</c:v>
                </c:pt>
                <c:pt idx="429">
                  <c:v>-0.81046294236409722</c:v>
                </c:pt>
                <c:pt idx="430">
                  <c:v>-0.98656451137363876</c:v>
                </c:pt>
                <c:pt idx="431">
                  <c:v>-1.1059432525676129</c:v>
                </c:pt>
                <c:pt idx="432">
                  <c:v>-1.1748912386103427</c:v>
                </c:pt>
                <c:pt idx="433">
                  <c:v>-1.2359862111176412</c:v>
                </c:pt>
                <c:pt idx="434">
                  <c:v>-1.444059152434761</c:v>
                </c:pt>
                <c:pt idx="435">
                  <c:v>-1.9403305975971961</c:v>
                </c:pt>
                <c:pt idx="436">
                  <c:v>-2.5766923898182816</c:v>
                </c:pt>
                <c:pt idx="437">
                  <c:v>-3.2482667095852826</c:v>
                </c:pt>
                <c:pt idx="438">
                  <c:v>-3.9092176258895011</c:v>
                </c:pt>
                <c:pt idx="439">
                  <c:v>-4.5050603488062491</c:v>
                </c:pt>
                <c:pt idx="440">
                  <c:v>-4.9668247398262464</c:v>
                </c:pt>
                <c:pt idx="441">
                  <c:v>-5.3105204172640441</c:v>
                </c:pt>
                <c:pt idx="442">
                  <c:v>-5.6132364676327127</c:v>
                </c:pt>
                <c:pt idx="443">
                  <c:v>-5.8873950430033473</c:v>
                </c:pt>
                <c:pt idx="444">
                  <c:v>-6.2397945811539657</c:v>
                </c:pt>
                <c:pt idx="445">
                  <c:v>-6.6764266382980137</c:v>
                </c:pt>
                <c:pt idx="446">
                  <c:v>-6.9517777549252244</c:v>
                </c:pt>
                <c:pt idx="447">
                  <c:v>-7.2912378278508045</c:v>
                </c:pt>
                <c:pt idx="448">
                  <c:v>-7.0866559451624793</c:v>
                </c:pt>
                <c:pt idx="449">
                  <c:v>-6.6738817950356477</c:v>
                </c:pt>
                <c:pt idx="450">
                  <c:v>-6.098038841258381</c:v>
                </c:pt>
                <c:pt idx="451">
                  <c:v>-6.1633102754878752</c:v>
                </c:pt>
                <c:pt idx="452">
                  <c:v>-5.3565126236530745</c:v>
                </c:pt>
                <c:pt idx="453">
                  <c:v>-5.2709789553068305</c:v>
                </c:pt>
                <c:pt idx="454">
                  <c:v>-4.2757808303926979</c:v>
                </c:pt>
                <c:pt idx="455">
                  <c:v>-3.341554724830476</c:v>
                </c:pt>
                <c:pt idx="456">
                  <c:v>-2.9891100953689334</c:v>
                </c:pt>
                <c:pt idx="457">
                  <c:v>-2.3679301911606601</c:v>
                </c:pt>
                <c:pt idx="458">
                  <c:v>-1.5818142708715852</c:v>
                </c:pt>
                <c:pt idx="459">
                  <c:v>-1.1126297821022533</c:v>
                </c:pt>
                <c:pt idx="460">
                  <c:v>-0.352177528535627</c:v>
                </c:pt>
                <c:pt idx="461">
                  <c:v>0.22869308427302837</c:v>
                </c:pt>
                <c:pt idx="462">
                  <c:v>1.017420882758711</c:v>
                </c:pt>
                <c:pt idx="463">
                  <c:v>1.4125043316698864</c:v>
                </c:pt>
                <c:pt idx="464">
                  <c:v>1.6267169984623444</c:v>
                </c:pt>
                <c:pt idx="465">
                  <c:v>1.908246289511630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BD9D-4C5A-9E7C-4CA44C61ABD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363744304"/>
        <c:axId val="1220274111"/>
      </c:lineChart>
      <c:catAx>
        <c:axId val="36374430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low"/>
        <c:spPr>
          <a:noFill/>
          <a:ln w="6350" cap="flat" cmpd="sng" algn="ctr">
            <a:solidFill>
              <a:sysClr val="windowText" lastClr="000000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220274111"/>
        <c:crosses val="autoZero"/>
        <c:auto val="1"/>
        <c:lblAlgn val="ctr"/>
        <c:lblOffset val="100"/>
        <c:noMultiLvlLbl val="0"/>
      </c:catAx>
      <c:valAx>
        <c:axId val="1220274111"/>
        <c:scaling>
          <c:orientation val="minMax"/>
          <c:max val="6"/>
          <c:min val="-8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" sourceLinked="0"/>
        <c:majorTickMark val="out"/>
        <c:minorTickMark val="none"/>
        <c:tickLblPos val="nextTo"/>
        <c:spPr>
          <a:noFill/>
          <a:ln w="6350">
            <a:solidFill>
              <a:sysClr val="windowText" lastClr="000000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637443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 w="6350">
      <a:solidFill>
        <a:sysClr val="windowText" lastClr="000000"/>
      </a:solidFill>
    </a:ln>
    <a:effectLst/>
  </c:spPr>
  <c:txPr>
    <a:bodyPr/>
    <a:lstStyle/>
    <a:p>
      <a:pPr>
        <a:defRPr sz="1600" b="1"/>
      </a:pPr>
      <a:endParaRPr lang="en-US"/>
    </a:p>
  </c:txPr>
  <c:externalData r:id="rId4">
    <c:autoUpdate val="0"/>
  </c:externalData>
  <c:userShapes r:id="rId5"/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7.9247594050743664E-2"/>
          <c:y val="9.7606080489938754E-2"/>
          <c:w val="0.89019685039370078"/>
          <c:h val="0.69816601049868776"/>
        </c:manualLayout>
      </c:layout>
      <c:lineChart>
        <c:grouping val="standard"/>
        <c:varyColors val="0"/>
        <c:ser>
          <c:idx val="0"/>
          <c:order val="0"/>
          <c:tx>
            <c:v>Average - excl Türkiye </c:v>
          </c:tx>
          <c:spPr>
            <a:ln w="38100"/>
          </c:spPr>
          <c:marker>
            <c:symbol val="none"/>
          </c:marker>
          <c:cat>
            <c:numRef>
              <c:f>Sheet1!$B$4:$B$2779</c:f>
              <c:numCache>
                <c:formatCode>m/d/yyyy</c:formatCode>
                <c:ptCount val="2776"/>
                <c:pt idx="0">
                  <c:v>41275</c:v>
                </c:pt>
                <c:pt idx="1">
                  <c:v>41276</c:v>
                </c:pt>
                <c:pt idx="2">
                  <c:v>41277</c:v>
                </c:pt>
                <c:pt idx="3">
                  <c:v>41278</c:v>
                </c:pt>
                <c:pt idx="4">
                  <c:v>41281</c:v>
                </c:pt>
                <c:pt idx="5">
                  <c:v>41282</c:v>
                </c:pt>
                <c:pt idx="6">
                  <c:v>41283</c:v>
                </c:pt>
                <c:pt idx="7">
                  <c:v>41284</c:v>
                </c:pt>
                <c:pt idx="8">
                  <c:v>41285</c:v>
                </c:pt>
                <c:pt idx="9">
                  <c:v>41288</c:v>
                </c:pt>
                <c:pt idx="10">
                  <c:v>41289</c:v>
                </c:pt>
                <c:pt idx="11">
                  <c:v>41290</c:v>
                </c:pt>
                <c:pt idx="12">
                  <c:v>41291</c:v>
                </c:pt>
                <c:pt idx="13">
                  <c:v>41292</c:v>
                </c:pt>
                <c:pt idx="14">
                  <c:v>41295</c:v>
                </c:pt>
                <c:pt idx="15">
                  <c:v>41296</c:v>
                </c:pt>
                <c:pt idx="16">
                  <c:v>41297</c:v>
                </c:pt>
                <c:pt idx="17">
                  <c:v>41298</c:v>
                </c:pt>
                <c:pt idx="18">
                  <c:v>41299</c:v>
                </c:pt>
                <c:pt idx="19">
                  <c:v>41302</c:v>
                </c:pt>
                <c:pt idx="20">
                  <c:v>41303</c:v>
                </c:pt>
                <c:pt idx="21">
                  <c:v>41304</c:v>
                </c:pt>
                <c:pt idx="22">
                  <c:v>41305</c:v>
                </c:pt>
                <c:pt idx="23">
                  <c:v>41306</c:v>
                </c:pt>
                <c:pt idx="24">
                  <c:v>41309</c:v>
                </c:pt>
                <c:pt idx="25">
                  <c:v>41310</c:v>
                </c:pt>
                <c:pt idx="26">
                  <c:v>41311</c:v>
                </c:pt>
                <c:pt idx="27">
                  <c:v>41312</c:v>
                </c:pt>
                <c:pt idx="28">
                  <c:v>41313</c:v>
                </c:pt>
                <c:pt idx="29">
                  <c:v>41316</c:v>
                </c:pt>
                <c:pt idx="30">
                  <c:v>41317</c:v>
                </c:pt>
                <c:pt idx="31">
                  <c:v>41318</c:v>
                </c:pt>
                <c:pt idx="32">
                  <c:v>41319</c:v>
                </c:pt>
                <c:pt idx="33">
                  <c:v>41320</c:v>
                </c:pt>
                <c:pt idx="34">
                  <c:v>41323</c:v>
                </c:pt>
                <c:pt idx="35">
                  <c:v>41324</c:v>
                </c:pt>
                <c:pt idx="36">
                  <c:v>41325</c:v>
                </c:pt>
                <c:pt idx="37">
                  <c:v>41326</c:v>
                </c:pt>
                <c:pt idx="38">
                  <c:v>41327</c:v>
                </c:pt>
                <c:pt idx="39">
                  <c:v>41330</c:v>
                </c:pt>
                <c:pt idx="40">
                  <c:v>41331</c:v>
                </c:pt>
                <c:pt idx="41">
                  <c:v>41332</c:v>
                </c:pt>
                <c:pt idx="42">
                  <c:v>41333</c:v>
                </c:pt>
                <c:pt idx="43">
                  <c:v>41334</c:v>
                </c:pt>
                <c:pt idx="44">
                  <c:v>41337</c:v>
                </c:pt>
                <c:pt idx="45">
                  <c:v>41338</c:v>
                </c:pt>
                <c:pt idx="46">
                  <c:v>41339</c:v>
                </c:pt>
                <c:pt idx="47">
                  <c:v>41340</c:v>
                </c:pt>
                <c:pt idx="48">
                  <c:v>41341</c:v>
                </c:pt>
                <c:pt idx="49">
                  <c:v>41344</c:v>
                </c:pt>
                <c:pt idx="50">
                  <c:v>41345</c:v>
                </c:pt>
                <c:pt idx="51">
                  <c:v>41346</c:v>
                </c:pt>
                <c:pt idx="52">
                  <c:v>41347</c:v>
                </c:pt>
                <c:pt idx="53">
                  <c:v>41348</c:v>
                </c:pt>
                <c:pt idx="54">
                  <c:v>41351</c:v>
                </c:pt>
                <c:pt idx="55">
                  <c:v>41352</c:v>
                </c:pt>
                <c:pt idx="56">
                  <c:v>41353</c:v>
                </c:pt>
                <c:pt idx="57">
                  <c:v>41354</c:v>
                </c:pt>
                <c:pt idx="58">
                  <c:v>41355</c:v>
                </c:pt>
                <c:pt idx="59">
                  <c:v>41358</c:v>
                </c:pt>
                <c:pt idx="60">
                  <c:v>41359</c:v>
                </c:pt>
                <c:pt idx="61">
                  <c:v>41360</c:v>
                </c:pt>
                <c:pt idx="62">
                  <c:v>41361</c:v>
                </c:pt>
                <c:pt idx="63">
                  <c:v>41362</c:v>
                </c:pt>
                <c:pt idx="64">
                  <c:v>41365</c:v>
                </c:pt>
                <c:pt idx="65">
                  <c:v>41366</c:v>
                </c:pt>
                <c:pt idx="66">
                  <c:v>41367</c:v>
                </c:pt>
                <c:pt idx="67">
                  <c:v>41368</c:v>
                </c:pt>
                <c:pt idx="68">
                  <c:v>41369</c:v>
                </c:pt>
                <c:pt idx="69">
                  <c:v>41372</c:v>
                </c:pt>
                <c:pt idx="70">
                  <c:v>41373</c:v>
                </c:pt>
                <c:pt idx="71">
                  <c:v>41374</c:v>
                </c:pt>
                <c:pt idx="72">
                  <c:v>41375</c:v>
                </c:pt>
                <c:pt idx="73">
                  <c:v>41376</c:v>
                </c:pt>
                <c:pt idx="74">
                  <c:v>41379</c:v>
                </c:pt>
                <c:pt idx="75">
                  <c:v>41380</c:v>
                </c:pt>
                <c:pt idx="76">
                  <c:v>41381</c:v>
                </c:pt>
                <c:pt idx="77">
                  <c:v>41382</c:v>
                </c:pt>
                <c:pt idx="78">
                  <c:v>41383</c:v>
                </c:pt>
                <c:pt idx="79">
                  <c:v>41386</c:v>
                </c:pt>
                <c:pt idx="80">
                  <c:v>41387</c:v>
                </c:pt>
                <c:pt idx="81">
                  <c:v>41388</c:v>
                </c:pt>
                <c:pt idx="82">
                  <c:v>41389</c:v>
                </c:pt>
                <c:pt idx="83">
                  <c:v>41390</c:v>
                </c:pt>
                <c:pt idx="84">
                  <c:v>41393</c:v>
                </c:pt>
                <c:pt idx="85">
                  <c:v>41394</c:v>
                </c:pt>
                <c:pt idx="86">
                  <c:v>41395</c:v>
                </c:pt>
                <c:pt idx="87">
                  <c:v>41396</c:v>
                </c:pt>
                <c:pt idx="88">
                  <c:v>41397</c:v>
                </c:pt>
                <c:pt idx="89">
                  <c:v>41400</c:v>
                </c:pt>
                <c:pt idx="90">
                  <c:v>41401</c:v>
                </c:pt>
                <c:pt idx="91">
                  <c:v>41402</c:v>
                </c:pt>
                <c:pt idx="92">
                  <c:v>41403</c:v>
                </c:pt>
                <c:pt idx="93">
                  <c:v>41404</c:v>
                </c:pt>
                <c:pt idx="94">
                  <c:v>41407</c:v>
                </c:pt>
                <c:pt idx="95">
                  <c:v>41408</c:v>
                </c:pt>
                <c:pt idx="96">
                  <c:v>41409</c:v>
                </c:pt>
                <c:pt idx="97">
                  <c:v>41410</c:v>
                </c:pt>
                <c:pt idx="98">
                  <c:v>41411</c:v>
                </c:pt>
                <c:pt idx="99">
                  <c:v>41414</c:v>
                </c:pt>
                <c:pt idx="100">
                  <c:v>41415</c:v>
                </c:pt>
                <c:pt idx="101">
                  <c:v>41416</c:v>
                </c:pt>
                <c:pt idx="102">
                  <c:v>41417</c:v>
                </c:pt>
                <c:pt idx="103">
                  <c:v>41418</c:v>
                </c:pt>
                <c:pt idx="104">
                  <c:v>41421</c:v>
                </c:pt>
                <c:pt idx="105">
                  <c:v>41422</c:v>
                </c:pt>
                <c:pt idx="106">
                  <c:v>41423</c:v>
                </c:pt>
                <c:pt idx="107">
                  <c:v>41424</c:v>
                </c:pt>
                <c:pt idx="108">
                  <c:v>41425</c:v>
                </c:pt>
                <c:pt idx="109">
                  <c:v>41428</c:v>
                </c:pt>
                <c:pt idx="110">
                  <c:v>41429</c:v>
                </c:pt>
                <c:pt idx="111">
                  <c:v>41430</c:v>
                </c:pt>
                <c:pt idx="112">
                  <c:v>41431</c:v>
                </c:pt>
                <c:pt idx="113">
                  <c:v>41432</c:v>
                </c:pt>
                <c:pt idx="114">
                  <c:v>41435</c:v>
                </c:pt>
                <c:pt idx="115">
                  <c:v>41436</c:v>
                </c:pt>
                <c:pt idx="116">
                  <c:v>41437</c:v>
                </c:pt>
                <c:pt idx="117">
                  <c:v>41438</c:v>
                </c:pt>
                <c:pt idx="118">
                  <c:v>41439</c:v>
                </c:pt>
                <c:pt idx="119">
                  <c:v>41442</c:v>
                </c:pt>
                <c:pt idx="120">
                  <c:v>41443</c:v>
                </c:pt>
                <c:pt idx="121">
                  <c:v>41444</c:v>
                </c:pt>
                <c:pt idx="122">
                  <c:v>41445</c:v>
                </c:pt>
                <c:pt idx="123">
                  <c:v>41446</c:v>
                </c:pt>
                <c:pt idx="124">
                  <c:v>41449</c:v>
                </c:pt>
                <c:pt idx="125">
                  <c:v>41450</c:v>
                </c:pt>
                <c:pt idx="126">
                  <c:v>41451</c:v>
                </c:pt>
                <c:pt idx="127">
                  <c:v>41452</c:v>
                </c:pt>
                <c:pt idx="128">
                  <c:v>41453</c:v>
                </c:pt>
                <c:pt idx="129">
                  <c:v>41456</c:v>
                </c:pt>
                <c:pt idx="130">
                  <c:v>41457</c:v>
                </c:pt>
                <c:pt idx="131">
                  <c:v>41458</c:v>
                </c:pt>
                <c:pt idx="132">
                  <c:v>41459</c:v>
                </c:pt>
                <c:pt idx="133">
                  <c:v>41460</c:v>
                </c:pt>
                <c:pt idx="134">
                  <c:v>41463</c:v>
                </c:pt>
                <c:pt idx="135">
                  <c:v>41464</c:v>
                </c:pt>
                <c:pt idx="136">
                  <c:v>41465</c:v>
                </c:pt>
                <c:pt idx="137">
                  <c:v>41466</c:v>
                </c:pt>
                <c:pt idx="138">
                  <c:v>41467</c:v>
                </c:pt>
                <c:pt idx="139">
                  <c:v>41470</c:v>
                </c:pt>
                <c:pt idx="140">
                  <c:v>41471</c:v>
                </c:pt>
                <c:pt idx="141">
                  <c:v>41472</c:v>
                </c:pt>
                <c:pt idx="142">
                  <c:v>41473</c:v>
                </c:pt>
                <c:pt idx="143">
                  <c:v>41474</c:v>
                </c:pt>
                <c:pt idx="144">
                  <c:v>41477</c:v>
                </c:pt>
                <c:pt idx="145">
                  <c:v>41478</c:v>
                </c:pt>
                <c:pt idx="146">
                  <c:v>41479</c:v>
                </c:pt>
                <c:pt idx="147">
                  <c:v>41480</c:v>
                </c:pt>
                <c:pt idx="148">
                  <c:v>41481</c:v>
                </c:pt>
                <c:pt idx="149">
                  <c:v>41484</c:v>
                </c:pt>
                <c:pt idx="150">
                  <c:v>41485</c:v>
                </c:pt>
                <c:pt idx="151">
                  <c:v>41486</c:v>
                </c:pt>
                <c:pt idx="152">
                  <c:v>41487</c:v>
                </c:pt>
                <c:pt idx="153">
                  <c:v>41488</c:v>
                </c:pt>
                <c:pt idx="154">
                  <c:v>41491</c:v>
                </c:pt>
                <c:pt idx="155">
                  <c:v>41492</c:v>
                </c:pt>
                <c:pt idx="156">
                  <c:v>41493</c:v>
                </c:pt>
                <c:pt idx="157">
                  <c:v>41494</c:v>
                </c:pt>
                <c:pt idx="158">
                  <c:v>41495</c:v>
                </c:pt>
                <c:pt idx="159">
                  <c:v>41498</c:v>
                </c:pt>
                <c:pt idx="160">
                  <c:v>41499</c:v>
                </c:pt>
                <c:pt idx="161">
                  <c:v>41500</c:v>
                </c:pt>
                <c:pt idx="162">
                  <c:v>41501</c:v>
                </c:pt>
                <c:pt idx="163">
                  <c:v>41502</c:v>
                </c:pt>
                <c:pt idx="164">
                  <c:v>41505</c:v>
                </c:pt>
                <c:pt idx="165">
                  <c:v>41506</c:v>
                </c:pt>
                <c:pt idx="166">
                  <c:v>41507</c:v>
                </c:pt>
                <c:pt idx="167">
                  <c:v>41508</c:v>
                </c:pt>
                <c:pt idx="168">
                  <c:v>41509</c:v>
                </c:pt>
                <c:pt idx="169">
                  <c:v>41512</c:v>
                </c:pt>
                <c:pt idx="170">
                  <c:v>41513</c:v>
                </c:pt>
                <c:pt idx="171">
                  <c:v>41514</c:v>
                </c:pt>
                <c:pt idx="172">
                  <c:v>41515</c:v>
                </c:pt>
                <c:pt idx="173">
                  <c:v>41516</c:v>
                </c:pt>
                <c:pt idx="174">
                  <c:v>41519</c:v>
                </c:pt>
                <c:pt idx="175">
                  <c:v>41520</c:v>
                </c:pt>
                <c:pt idx="176">
                  <c:v>41521</c:v>
                </c:pt>
                <c:pt idx="177">
                  <c:v>41522</c:v>
                </c:pt>
                <c:pt idx="178">
                  <c:v>41523</c:v>
                </c:pt>
                <c:pt idx="179">
                  <c:v>41526</c:v>
                </c:pt>
                <c:pt idx="180">
                  <c:v>41527</c:v>
                </c:pt>
                <c:pt idx="181">
                  <c:v>41528</c:v>
                </c:pt>
                <c:pt idx="182">
                  <c:v>41529</c:v>
                </c:pt>
                <c:pt idx="183">
                  <c:v>41530</c:v>
                </c:pt>
                <c:pt idx="184">
                  <c:v>41533</c:v>
                </c:pt>
                <c:pt idx="185">
                  <c:v>41534</c:v>
                </c:pt>
                <c:pt idx="186">
                  <c:v>41535</c:v>
                </c:pt>
                <c:pt idx="187">
                  <c:v>41536</c:v>
                </c:pt>
                <c:pt idx="188">
                  <c:v>41537</c:v>
                </c:pt>
                <c:pt idx="189">
                  <c:v>41540</c:v>
                </c:pt>
                <c:pt idx="190">
                  <c:v>41541</c:v>
                </c:pt>
                <c:pt idx="191">
                  <c:v>41542</c:v>
                </c:pt>
                <c:pt idx="192">
                  <c:v>41543</c:v>
                </c:pt>
                <c:pt idx="193">
                  <c:v>41572</c:v>
                </c:pt>
                <c:pt idx="194">
                  <c:v>41575</c:v>
                </c:pt>
                <c:pt idx="195">
                  <c:v>41576</c:v>
                </c:pt>
                <c:pt idx="196">
                  <c:v>41577</c:v>
                </c:pt>
                <c:pt idx="197">
                  <c:v>41578</c:v>
                </c:pt>
                <c:pt idx="198">
                  <c:v>41579</c:v>
                </c:pt>
                <c:pt idx="199">
                  <c:v>41582</c:v>
                </c:pt>
                <c:pt idx="200">
                  <c:v>41583</c:v>
                </c:pt>
                <c:pt idx="201">
                  <c:v>41584</c:v>
                </c:pt>
                <c:pt idx="202">
                  <c:v>41585</c:v>
                </c:pt>
                <c:pt idx="203">
                  <c:v>41586</c:v>
                </c:pt>
                <c:pt idx="204">
                  <c:v>41589</c:v>
                </c:pt>
                <c:pt idx="205">
                  <c:v>41590</c:v>
                </c:pt>
                <c:pt idx="206">
                  <c:v>41591</c:v>
                </c:pt>
                <c:pt idx="207">
                  <c:v>41592</c:v>
                </c:pt>
                <c:pt idx="208">
                  <c:v>41593</c:v>
                </c:pt>
                <c:pt idx="209">
                  <c:v>41596</c:v>
                </c:pt>
                <c:pt idx="210">
                  <c:v>41597</c:v>
                </c:pt>
                <c:pt idx="211">
                  <c:v>41598</c:v>
                </c:pt>
                <c:pt idx="212">
                  <c:v>41599</c:v>
                </c:pt>
                <c:pt idx="213">
                  <c:v>41600</c:v>
                </c:pt>
                <c:pt idx="214">
                  <c:v>41603</c:v>
                </c:pt>
                <c:pt idx="215">
                  <c:v>41604</c:v>
                </c:pt>
                <c:pt idx="216">
                  <c:v>41605</c:v>
                </c:pt>
                <c:pt idx="217">
                  <c:v>41606</c:v>
                </c:pt>
                <c:pt idx="218">
                  <c:v>41607</c:v>
                </c:pt>
                <c:pt idx="219">
                  <c:v>41610</c:v>
                </c:pt>
                <c:pt idx="220">
                  <c:v>41611</c:v>
                </c:pt>
                <c:pt idx="221">
                  <c:v>41612</c:v>
                </c:pt>
                <c:pt idx="222">
                  <c:v>41613</c:v>
                </c:pt>
                <c:pt idx="223">
                  <c:v>41614</c:v>
                </c:pt>
                <c:pt idx="224">
                  <c:v>41617</c:v>
                </c:pt>
                <c:pt idx="225">
                  <c:v>41618</c:v>
                </c:pt>
                <c:pt idx="226">
                  <c:v>41619</c:v>
                </c:pt>
                <c:pt idx="227">
                  <c:v>41620</c:v>
                </c:pt>
                <c:pt idx="228">
                  <c:v>41621</c:v>
                </c:pt>
                <c:pt idx="229">
                  <c:v>41624</c:v>
                </c:pt>
                <c:pt idx="230">
                  <c:v>41625</c:v>
                </c:pt>
                <c:pt idx="231">
                  <c:v>41626</c:v>
                </c:pt>
                <c:pt idx="232">
                  <c:v>41627</c:v>
                </c:pt>
                <c:pt idx="233">
                  <c:v>41628</c:v>
                </c:pt>
                <c:pt idx="234">
                  <c:v>41631</c:v>
                </c:pt>
                <c:pt idx="235">
                  <c:v>41632</c:v>
                </c:pt>
                <c:pt idx="236">
                  <c:v>41633</c:v>
                </c:pt>
                <c:pt idx="237">
                  <c:v>41634</c:v>
                </c:pt>
                <c:pt idx="238">
                  <c:v>41635</c:v>
                </c:pt>
                <c:pt idx="239">
                  <c:v>41638</c:v>
                </c:pt>
                <c:pt idx="240">
                  <c:v>41639</c:v>
                </c:pt>
                <c:pt idx="241">
                  <c:v>41640</c:v>
                </c:pt>
                <c:pt idx="242">
                  <c:v>41641</c:v>
                </c:pt>
                <c:pt idx="243">
                  <c:v>41642</c:v>
                </c:pt>
                <c:pt idx="244">
                  <c:v>41645</c:v>
                </c:pt>
                <c:pt idx="245">
                  <c:v>41646</c:v>
                </c:pt>
                <c:pt idx="246">
                  <c:v>41647</c:v>
                </c:pt>
                <c:pt idx="247">
                  <c:v>41648</c:v>
                </c:pt>
                <c:pt idx="248">
                  <c:v>41649</c:v>
                </c:pt>
                <c:pt idx="249">
                  <c:v>41652</c:v>
                </c:pt>
                <c:pt idx="250">
                  <c:v>41653</c:v>
                </c:pt>
                <c:pt idx="251">
                  <c:v>41654</c:v>
                </c:pt>
                <c:pt idx="252">
                  <c:v>41655</c:v>
                </c:pt>
                <c:pt idx="253">
                  <c:v>41656</c:v>
                </c:pt>
                <c:pt idx="254">
                  <c:v>41659</c:v>
                </c:pt>
                <c:pt idx="255">
                  <c:v>41660</c:v>
                </c:pt>
                <c:pt idx="256">
                  <c:v>41661</c:v>
                </c:pt>
                <c:pt idx="257">
                  <c:v>41662</c:v>
                </c:pt>
                <c:pt idx="258">
                  <c:v>41663</c:v>
                </c:pt>
                <c:pt idx="259">
                  <c:v>41666</c:v>
                </c:pt>
                <c:pt idx="260">
                  <c:v>41667</c:v>
                </c:pt>
                <c:pt idx="261">
                  <c:v>41668</c:v>
                </c:pt>
                <c:pt idx="262">
                  <c:v>41669</c:v>
                </c:pt>
                <c:pt idx="263">
                  <c:v>41670</c:v>
                </c:pt>
                <c:pt idx="264">
                  <c:v>41673</c:v>
                </c:pt>
                <c:pt idx="265">
                  <c:v>41674</c:v>
                </c:pt>
                <c:pt idx="266">
                  <c:v>41675</c:v>
                </c:pt>
                <c:pt idx="267">
                  <c:v>41676</c:v>
                </c:pt>
                <c:pt idx="268">
                  <c:v>41677</c:v>
                </c:pt>
                <c:pt idx="269">
                  <c:v>41680</c:v>
                </c:pt>
                <c:pt idx="270">
                  <c:v>41681</c:v>
                </c:pt>
                <c:pt idx="271">
                  <c:v>41682</c:v>
                </c:pt>
                <c:pt idx="272">
                  <c:v>41683</c:v>
                </c:pt>
                <c:pt idx="273">
                  <c:v>41684</c:v>
                </c:pt>
                <c:pt idx="274">
                  <c:v>41687</c:v>
                </c:pt>
                <c:pt idx="275">
                  <c:v>41688</c:v>
                </c:pt>
                <c:pt idx="276">
                  <c:v>41689</c:v>
                </c:pt>
                <c:pt idx="277">
                  <c:v>41690</c:v>
                </c:pt>
                <c:pt idx="278">
                  <c:v>41691</c:v>
                </c:pt>
                <c:pt idx="279">
                  <c:v>41694</c:v>
                </c:pt>
                <c:pt idx="280">
                  <c:v>41695</c:v>
                </c:pt>
                <c:pt idx="281">
                  <c:v>41696</c:v>
                </c:pt>
                <c:pt idx="282">
                  <c:v>41697</c:v>
                </c:pt>
                <c:pt idx="283">
                  <c:v>41698</c:v>
                </c:pt>
                <c:pt idx="284">
                  <c:v>41701</c:v>
                </c:pt>
                <c:pt idx="285">
                  <c:v>41702</c:v>
                </c:pt>
                <c:pt idx="286">
                  <c:v>41703</c:v>
                </c:pt>
                <c:pt idx="287">
                  <c:v>41704</c:v>
                </c:pt>
                <c:pt idx="288">
                  <c:v>41705</c:v>
                </c:pt>
                <c:pt idx="289">
                  <c:v>41708</c:v>
                </c:pt>
                <c:pt idx="290">
                  <c:v>41709</c:v>
                </c:pt>
                <c:pt idx="291">
                  <c:v>41710</c:v>
                </c:pt>
                <c:pt idx="292">
                  <c:v>41711</c:v>
                </c:pt>
                <c:pt idx="293">
                  <c:v>41712</c:v>
                </c:pt>
                <c:pt idx="294">
                  <c:v>41715</c:v>
                </c:pt>
                <c:pt idx="295">
                  <c:v>41716</c:v>
                </c:pt>
                <c:pt idx="296">
                  <c:v>41717</c:v>
                </c:pt>
                <c:pt idx="297">
                  <c:v>41718</c:v>
                </c:pt>
                <c:pt idx="298">
                  <c:v>41719</c:v>
                </c:pt>
                <c:pt idx="299">
                  <c:v>41722</c:v>
                </c:pt>
                <c:pt idx="300">
                  <c:v>41723</c:v>
                </c:pt>
                <c:pt idx="301">
                  <c:v>41724</c:v>
                </c:pt>
                <c:pt idx="302">
                  <c:v>41725</c:v>
                </c:pt>
                <c:pt idx="303">
                  <c:v>41726</c:v>
                </c:pt>
                <c:pt idx="304">
                  <c:v>41729</c:v>
                </c:pt>
                <c:pt idx="305">
                  <c:v>41730</c:v>
                </c:pt>
                <c:pt idx="306">
                  <c:v>41731</c:v>
                </c:pt>
                <c:pt idx="307">
                  <c:v>41732</c:v>
                </c:pt>
                <c:pt idx="308">
                  <c:v>41733</c:v>
                </c:pt>
                <c:pt idx="309">
                  <c:v>41736</c:v>
                </c:pt>
                <c:pt idx="310">
                  <c:v>41737</c:v>
                </c:pt>
                <c:pt idx="311">
                  <c:v>41738</c:v>
                </c:pt>
                <c:pt idx="312">
                  <c:v>41739</c:v>
                </c:pt>
                <c:pt idx="313">
                  <c:v>41740</c:v>
                </c:pt>
                <c:pt idx="314">
                  <c:v>41743</c:v>
                </c:pt>
                <c:pt idx="315">
                  <c:v>41744</c:v>
                </c:pt>
                <c:pt idx="316">
                  <c:v>41745</c:v>
                </c:pt>
                <c:pt idx="317">
                  <c:v>41746</c:v>
                </c:pt>
                <c:pt idx="318">
                  <c:v>41747</c:v>
                </c:pt>
                <c:pt idx="319">
                  <c:v>41750</c:v>
                </c:pt>
                <c:pt idx="320">
                  <c:v>41751</c:v>
                </c:pt>
                <c:pt idx="321">
                  <c:v>41752</c:v>
                </c:pt>
                <c:pt idx="322">
                  <c:v>41753</c:v>
                </c:pt>
                <c:pt idx="323">
                  <c:v>41754</c:v>
                </c:pt>
                <c:pt idx="324">
                  <c:v>41757</c:v>
                </c:pt>
                <c:pt idx="325">
                  <c:v>41758</c:v>
                </c:pt>
                <c:pt idx="326">
                  <c:v>41759</c:v>
                </c:pt>
                <c:pt idx="327">
                  <c:v>41760</c:v>
                </c:pt>
                <c:pt idx="328">
                  <c:v>41761</c:v>
                </c:pt>
                <c:pt idx="329">
                  <c:v>41764</c:v>
                </c:pt>
                <c:pt idx="330">
                  <c:v>41765</c:v>
                </c:pt>
                <c:pt idx="331">
                  <c:v>41766</c:v>
                </c:pt>
                <c:pt idx="332">
                  <c:v>41767</c:v>
                </c:pt>
                <c:pt idx="333">
                  <c:v>41768</c:v>
                </c:pt>
                <c:pt idx="334">
                  <c:v>41771</c:v>
                </c:pt>
                <c:pt idx="335">
                  <c:v>41772</c:v>
                </c:pt>
                <c:pt idx="336">
                  <c:v>41773</c:v>
                </c:pt>
                <c:pt idx="337">
                  <c:v>41774</c:v>
                </c:pt>
                <c:pt idx="338">
                  <c:v>41775</c:v>
                </c:pt>
                <c:pt idx="339">
                  <c:v>41778</c:v>
                </c:pt>
                <c:pt idx="340">
                  <c:v>41779</c:v>
                </c:pt>
                <c:pt idx="341">
                  <c:v>41780</c:v>
                </c:pt>
                <c:pt idx="342">
                  <c:v>41781</c:v>
                </c:pt>
                <c:pt idx="343">
                  <c:v>41782</c:v>
                </c:pt>
                <c:pt idx="344">
                  <c:v>41785</c:v>
                </c:pt>
                <c:pt idx="345">
                  <c:v>41786</c:v>
                </c:pt>
                <c:pt idx="346">
                  <c:v>41787</c:v>
                </c:pt>
                <c:pt idx="347">
                  <c:v>41788</c:v>
                </c:pt>
                <c:pt idx="348">
                  <c:v>41789</c:v>
                </c:pt>
                <c:pt idx="349">
                  <c:v>41792</c:v>
                </c:pt>
                <c:pt idx="350">
                  <c:v>41793</c:v>
                </c:pt>
                <c:pt idx="351">
                  <c:v>41794</c:v>
                </c:pt>
                <c:pt idx="352">
                  <c:v>41795</c:v>
                </c:pt>
                <c:pt idx="353">
                  <c:v>41796</c:v>
                </c:pt>
                <c:pt idx="354">
                  <c:v>41799</c:v>
                </c:pt>
                <c:pt idx="355">
                  <c:v>41800</c:v>
                </c:pt>
                <c:pt idx="356">
                  <c:v>41801</c:v>
                </c:pt>
                <c:pt idx="357">
                  <c:v>41802</c:v>
                </c:pt>
                <c:pt idx="358">
                  <c:v>41803</c:v>
                </c:pt>
                <c:pt idx="359">
                  <c:v>41806</c:v>
                </c:pt>
                <c:pt idx="360">
                  <c:v>41807</c:v>
                </c:pt>
                <c:pt idx="361">
                  <c:v>41808</c:v>
                </c:pt>
                <c:pt idx="362">
                  <c:v>41809</c:v>
                </c:pt>
                <c:pt idx="363">
                  <c:v>41810</c:v>
                </c:pt>
                <c:pt idx="364">
                  <c:v>41813</c:v>
                </c:pt>
                <c:pt idx="365">
                  <c:v>41814</c:v>
                </c:pt>
                <c:pt idx="366">
                  <c:v>41815</c:v>
                </c:pt>
                <c:pt idx="367">
                  <c:v>41816</c:v>
                </c:pt>
                <c:pt idx="368">
                  <c:v>41817</c:v>
                </c:pt>
                <c:pt idx="369">
                  <c:v>41820</c:v>
                </c:pt>
                <c:pt idx="370">
                  <c:v>41821</c:v>
                </c:pt>
                <c:pt idx="371">
                  <c:v>41822</c:v>
                </c:pt>
                <c:pt idx="372">
                  <c:v>41823</c:v>
                </c:pt>
                <c:pt idx="373">
                  <c:v>41824</c:v>
                </c:pt>
                <c:pt idx="374">
                  <c:v>41827</c:v>
                </c:pt>
                <c:pt idx="375">
                  <c:v>41828</c:v>
                </c:pt>
                <c:pt idx="376">
                  <c:v>41829</c:v>
                </c:pt>
                <c:pt idx="377">
                  <c:v>41830</c:v>
                </c:pt>
                <c:pt idx="378">
                  <c:v>41831</c:v>
                </c:pt>
                <c:pt idx="379">
                  <c:v>41834</c:v>
                </c:pt>
                <c:pt idx="380">
                  <c:v>41835</c:v>
                </c:pt>
                <c:pt idx="381">
                  <c:v>41836</c:v>
                </c:pt>
                <c:pt idx="382">
                  <c:v>41837</c:v>
                </c:pt>
                <c:pt idx="383">
                  <c:v>41838</c:v>
                </c:pt>
                <c:pt idx="384">
                  <c:v>41841</c:v>
                </c:pt>
                <c:pt idx="385">
                  <c:v>41842</c:v>
                </c:pt>
                <c:pt idx="386">
                  <c:v>41843</c:v>
                </c:pt>
                <c:pt idx="387">
                  <c:v>41844</c:v>
                </c:pt>
                <c:pt idx="388">
                  <c:v>41845</c:v>
                </c:pt>
                <c:pt idx="389">
                  <c:v>41848</c:v>
                </c:pt>
                <c:pt idx="390">
                  <c:v>41849</c:v>
                </c:pt>
                <c:pt idx="391">
                  <c:v>41850</c:v>
                </c:pt>
                <c:pt idx="392">
                  <c:v>41851</c:v>
                </c:pt>
                <c:pt idx="393">
                  <c:v>41852</c:v>
                </c:pt>
                <c:pt idx="394">
                  <c:v>41855</c:v>
                </c:pt>
                <c:pt idx="395">
                  <c:v>41856</c:v>
                </c:pt>
                <c:pt idx="396">
                  <c:v>41857</c:v>
                </c:pt>
                <c:pt idx="397">
                  <c:v>41858</c:v>
                </c:pt>
                <c:pt idx="398">
                  <c:v>41859</c:v>
                </c:pt>
                <c:pt idx="399">
                  <c:v>41862</c:v>
                </c:pt>
                <c:pt idx="400">
                  <c:v>41863</c:v>
                </c:pt>
                <c:pt idx="401">
                  <c:v>41864</c:v>
                </c:pt>
                <c:pt idx="402">
                  <c:v>41865</c:v>
                </c:pt>
                <c:pt idx="403">
                  <c:v>41866</c:v>
                </c:pt>
                <c:pt idx="404">
                  <c:v>41869</c:v>
                </c:pt>
                <c:pt idx="405">
                  <c:v>41870</c:v>
                </c:pt>
                <c:pt idx="406">
                  <c:v>41871</c:v>
                </c:pt>
                <c:pt idx="407">
                  <c:v>41872</c:v>
                </c:pt>
                <c:pt idx="408">
                  <c:v>41873</c:v>
                </c:pt>
                <c:pt idx="409">
                  <c:v>41876</c:v>
                </c:pt>
                <c:pt idx="410">
                  <c:v>41877</c:v>
                </c:pt>
                <c:pt idx="411">
                  <c:v>41878</c:v>
                </c:pt>
                <c:pt idx="412">
                  <c:v>41879</c:v>
                </c:pt>
                <c:pt idx="413">
                  <c:v>41880</c:v>
                </c:pt>
                <c:pt idx="414">
                  <c:v>41883</c:v>
                </c:pt>
                <c:pt idx="415">
                  <c:v>41884</c:v>
                </c:pt>
                <c:pt idx="416">
                  <c:v>41885</c:v>
                </c:pt>
                <c:pt idx="417">
                  <c:v>41886</c:v>
                </c:pt>
                <c:pt idx="418">
                  <c:v>41887</c:v>
                </c:pt>
                <c:pt idx="419">
                  <c:v>41890</c:v>
                </c:pt>
                <c:pt idx="420">
                  <c:v>41891</c:v>
                </c:pt>
                <c:pt idx="421">
                  <c:v>41892</c:v>
                </c:pt>
                <c:pt idx="422">
                  <c:v>41893</c:v>
                </c:pt>
                <c:pt idx="423">
                  <c:v>41894</c:v>
                </c:pt>
                <c:pt idx="424">
                  <c:v>41897</c:v>
                </c:pt>
                <c:pt idx="425">
                  <c:v>41898</c:v>
                </c:pt>
                <c:pt idx="426">
                  <c:v>41899</c:v>
                </c:pt>
                <c:pt idx="427">
                  <c:v>41900</c:v>
                </c:pt>
                <c:pt idx="428">
                  <c:v>41901</c:v>
                </c:pt>
                <c:pt idx="429">
                  <c:v>41904</c:v>
                </c:pt>
                <c:pt idx="430">
                  <c:v>41905</c:v>
                </c:pt>
                <c:pt idx="431">
                  <c:v>41906</c:v>
                </c:pt>
                <c:pt idx="432">
                  <c:v>41907</c:v>
                </c:pt>
                <c:pt idx="433">
                  <c:v>41908</c:v>
                </c:pt>
                <c:pt idx="434">
                  <c:v>41911</c:v>
                </c:pt>
                <c:pt idx="435">
                  <c:v>41912</c:v>
                </c:pt>
                <c:pt idx="436">
                  <c:v>41913</c:v>
                </c:pt>
                <c:pt idx="437">
                  <c:v>41914</c:v>
                </c:pt>
                <c:pt idx="438">
                  <c:v>41915</c:v>
                </c:pt>
                <c:pt idx="439">
                  <c:v>41918</c:v>
                </c:pt>
                <c:pt idx="440">
                  <c:v>41919</c:v>
                </c:pt>
                <c:pt idx="441">
                  <c:v>41920</c:v>
                </c:pt>
                <c:pt idx="442">
                  <c:v>41921</c:v>
                </c:pt>
                <c:pt idx="443">
                  <c:v>41922</c:v>
                </c:pt>
                <c:pt idx="444">
                  <c:v>41925</c:v>
                </c:pt>
                <c:pt idx="445">
                  <c:v>41926</c:v>
                </c:pt>
                <c:pt idx="446">
                  <c:v>41927</c:v>
                </c:pt>
                <c:pt idx="447">
                  <c:v>41928</c:v>
                </c:pt>
                <c:pt idx="448">
                  <c:v>41929</c:v>
                </c:pt>
                <c:pt idx="449">
                  <c:v>41932</c:v>
                </c:pt>
                <c:pt idx="450">
                  <c:v>41933</c:v>
                </c:pt>
                <c:pt idx="451">
                  <c:v>41934</c:v>
                </c:pt>
                <c:pt idx="452">
                  <c:v>41935</c:v>
                </c:pt>
                <c:pt idx="453">
                  <c:v>41936</c:v>
                </c:pt>
                <c:pt idx="454">
                  <c:v>41939</c:v>
                </c:pt>
                <c:pt idx="455">
                  <c:v>41940</c:v>
                </c:pt>
                <c:pt idx="456">
                  <c:v>41941</c:v>
                </c:pt>
                <c:pt idx="457">
                  <c:v>41942</c:v>
                </c:pt>
                <c:pt idx="458">
                  <c:v>41943</c:v>
                </c:pt>
                <c:pt idx="459">
                  <c:v>41946</c:v>
                </c:pt>
                <c:pt idx="460">
                  <c:v>41947</c:v>
                </c:pt>
                <c:pt idx="461">
                  <c:v>41948</c:v>
                </c:pt>
                <c:pt idx="462">
                  <c:v>41949</c:v>
                </c:pt>
                <c:pt idx="463">
                  <c:v>41950</c:v>
                </c:pt>
                <c:pt idx="464">
                  <c:v>41953</c:v>
                </c:pt>
                <c:pt idx="465">
                  <c:v>41954</c:v>
                </c:pt>
                <c:pt idx="466">
                  <c:v>41955</c:v>
                </c:pt>
                <c:pt idx="467">
                  <c:v>41956</c:v>
                </c:pt>
                <c:pt idx="468">
                  <c:v>41957</c:v>
                </c:pt>
                <c:pt idx="469">
                  <c:v>41960</c:v>
                </c:pt>
                <c:pt idx="470">
                  <c:v>41961</c:v>
                </c:pt>
                <c:pt idx="471">
                  <c:v>41962</c:v>
                </c:pt>
                <c:pt idx="472">
                  <c:v>41963</c:v>
                </c:pt>
                <c:pt idx="473">
                  <c:v>41964</c:v>
                </c:pt>
                <c:pt idx="474">
                  <c:v>41967</c:v>
                </c:pt>
                <c:pt idx="475">
                  <c:v>41968</c:v>
                </c:pt>
                <c:pt idx="476">
                  <c:v>41969</c:v>
                </c:pt>
                <c:pt idx="477">
                  <c:v>41970</c:v>
                </c:pt>
                <c:pt idx="478">
                  <c:v>41971</c:v>
                </c:pt>
                <c:pt idx="479">
                  <c:v>41974</c:v>
                </c:pt>
                <c:pt idx="480">
                  <c:v>41975</c:v>
                </c:pt>
                <c:pt idx="481">
                  <c:v>41976</c:v>
                </c:pt>
                <c:pt idx="482">
                  <c:v>41977</c:v>
                </c:pt>
                <c:pt idx="483">
                  <c:v>41978</c:v>
                </c:pt>
                <c:pt idx="484">
                  <c:v>41981</c:v>
                </c:pt>
                <c:pt idx="485">
                  <c:v>41982</c:v>
                </c:pt>
                <c:pt idx="486">
                  <c:v>41983</c:v>
                </c:pt>
                <c:pt idx="487">
                  <c:v>41984</c:v>
                </c:pt>
                <c:pt idx="488">
                  <c:v>41985</c:v>
                </c:pt>
                <c:pt idx="489">
                  <c:v>41988</c:v>
                </c:pt>
                <c:pt idx="490">
                  <c:v>41989</c:v>
                </c:pt>
                <c:pt idx="491">
                  <c:v>41990</c:v>
                </c:pt>
                <c:pt idx="492">
                  <c:v>41991</c:v>
                </c:pt>
                <c:pt idx="493">
                  <c:v>41992</c:v>
                </c:pt>
                <c:pt idx="494">
                  <c:v>41995</c:v>
                </c:pt>
                <c:pt idx="495">
                  <c:v>41996</c:v>
                </c:pt>
                <c:pt idx="496">
                  <c:v>41997</c:v>
                </c:pt>
                <c:pt idx="497">
                  <c:v>41998</c:v>
                </c:pt>
                <c:pt idx="498">
                  <c:v>41999</c:v>
                </c:pt>
                <c:pt idx="499">
                  <c:v>42002</c:v>
                </c:pt>
                <c:pt idx="500">
                  <c:v>42003</c:v>
                </c:pt>
                <c:pt idx="501">
                  <c:v>42004</c:v>
                </c:pt>
                <c:pt idx="502">
                  <c:v>42005</c:v>
                </c:pt>
                <c:pt idx="503">
                  <c:v>42006</c:v>
                </c:pt>
                <c:pt idx="504">
                  <c:v>42009</c:v>
                </c:pt>
                <c:pt idx="505">
                  <c:v>42010</c:v>
                </c:pt>
                <c:pt idx="506">
                  <c:v>42011</c:v>
                </c:pt>
                <c:pt idx="507">
                  <c:v>42012</c:v>
                </c:pt>
                <c:pt idx="508">
                  <c:v>42013</c:v>
                </c:pt>
                <c:pt idx="509">
                  <c:v>42016</c:v>
                </c:pt>
                <c:pt idx="510">
                  <c:v>42017</c:v>
                </c:pt>
                <c:pt idx="511">
                  <c:v>42018</c:v>
                </c:pt>
                <c:pt idx="512">
                  <c:v>42019</c:v>
                </c:pt>
                <c:pt idx="513">
                  <c:v>42020</c:v>
                </c:pt>
                <c:pt idx="514">
                  <c:v>42023</c:v>
                </c:pt>
                <c:pt idx="515">
                  <c:v>42024</c:v>
                </c:pt>
                <c:pt idx="516">
                  <c:v>42025</c:v>
                </c:pt>
                <c:pt idx="517">
                  <c:v>42026</c:v>
                </c:pt>
                <c:pt idx="518">
                  <c:v>42027</c:v>
                </c:pt>
                <c:pt idx="519">
                  <c:v>42030</c:v>
                </c:pt>
                <c:pt idx="520">
                  <c:v>42031</c:v>
                </c:pt>
                <c:pt idx="521">
                  <c:v>42032</c:v>
                </c:pt>
                <c:pt idx="522">
                  <c:v>42033</c:v>
                </c:pt>
                <c:pt idx="523">
                  <c:v>42034</c:v>
                </c:pt>
                <c:pt idx="524">
                  <c:v>42037</c:v>
                </c:pt>
                <c:pt idx="525">
                  <c:v>42038</c:v>
                </c:pt>
                <c:pt idx="526">
                  <c:v>42039</c:v>
                </c:pt>
                <c:pt idx="527">
                  <c:v>42040</c:v>
                </c:pt>
                <c:pt idx="528">
                  <c:v>42041</c:v>
                </c:pt>
                <c:pt idx="529">
                  <c:v>42044</c:v>
                </c:pt>
                <c:pt idx="530">
                  <c:v>42045</c:v>
                </c:pt>
                <c:pt idx="531">
                  <c:v>42046</c:v>
                </c:pt>
                <c:pt idx="532">
                  <c:v>42047</c:v>
                </c:pt>
                <c:pt idx="533">
                  <c:v>42048</c:v>
                </c:pt>
                <c:pt idx="534">
                  <c:v>42051</c:v>
                </c:pt>
                <c:pt idx="535">
                  <c:v>42052</c:v>
                </c:pt>
                <c:pt idx="536">
                  <c:v>42053</c:v>
                </c:pt>
                <c:pt idx="537">
                  <c:v>42054</c:v>
                </c:pt>
                <c:pt idx="538">
                  <c:v>42055</c:v>
                </c:pt>
                <c:pt idx="539">
                  <c:v>42058</c:v>
                </c:pt>
                <c:pt idx="540">
                  <c:v>42059</c:v>
                </c:pt>
                <c:pt idx="541">
                  <c:v>42060</c:v>
                </c:pt>
                <c:pt idx="542">
                  <c:v>42061</c:v>
                </c:pt>
                <c:pt idx="543">
                  <c:v>42062</c:v>
                </c:pt>
                <c:pt idx="544">
                  <c:v>42065</c:v>
                </c:pt>
                <c:pt idx="545">
                  <c:v>42066</c:v>
                </c:pt>
                <c:pt idx="546">
                  <c:v>42067</c:v>
                </c:pt>
                <c:pt idx="547">
                  <c:v>42068</c:v>
                </c:pt>
                <c:pt idx="548">
                  <c:v>42069</c:v>
                </c:pt>
                <c:pt idx="549">
                  <c:v>42072</c:v>
                </c:pt>
                <c:pt idx="550">
                  <c:v>42073</c:v>
                </c:pt>
                <c:pt idx="551">
                  <c:v>42074</c:v>
                </c:pt>
                <c:pt idx="552">
                  <c:v>42075</c:v>
                </c:pt>
                <c:pt idx="553">
                  <c:v>42076</c:v>
                </c:pt>
                <c:pt idx="554">
                  <c:v>42079</c:v>
                </c:pt>
                <c:pt idx="555">
                  <c:v>42080</c:v>
                </c:pt>
                <c:pt idx="556">
                  <c:v>42081</c:v>
                </c:pt>
                <c:pt idx="557">
                  <c:v>42082</c:v>
                </c:pt>
                <c:pt idx="558">
                  <c:v>42083</c:v>
                </c:pt>
                <c:pt idx="559">
                  <c:v>42086</c:v>
                </c:pt>
                <c:pt idx="560">
                  <c:v>42087</c:v>
                </c:pt>
                <c:pt idx="561">
                  <c:v>42088</c:v>
                </c:pt>
                <c:pt idx="562">
                  <c:v>42089</c:v>
                </c:pt>
                <c:pt idx="563">
                  <c:v>42090</c:v>
                </c:pt>
                <c:pt idx="564">
                  <c:v>42093</c:v>
                </c:pt>
                <c:pt idx="565">
                  <c:v>42094</c:v>
                </c:pt>
                <c:pt idx="566">
                  <c:v>42095</c:v>
                </c:pt>
                <c:pt idx="567">
                  <c:v>42096</c:v>
                </c:pt>
                <c:pt idx="568">
                  <c:v>42097</c:v>
                </c:pt>
                <c:pt idx="569">
                  <c:v>42100</c:v>
                </c:pt>
                <c:pt idx="570">
                  <c:v>42101</c:v>
                </c:pt>
                <c:pt idx="571">
                  <c:v>42102</c:v>
                </c:pt>
                <c:pt idx="572">
                  <c:v>42103</c:v>
                </c:pt>
                <c:pt idx="573">
                  <c:v>42104</c:v>
                </c:pt>
                <c:pt idx="574">
                  <c:v>42107</c:v>
                </c:pt>
                <c:pt idx="575">
                  <c:v>42108</c:v>
                </c:pt>
                <c:pt idx="576">
                  <c:v>42109</c:v>
                </c:pt>
                <c:pt idx="577">
                  <c:v>42110</c:v>
                </c:pt>
                <c:pt idx="578">
                  <c:v>42111</c:v>
                </c:pt>
                <c:pt idx="579">
                  <c:v>42114</c:v>
                </c:pt>
                <c:pt idx="580">
                  <c:v>42115</c:v>
                </c:pt>
                <c:pt idx="581">
                  <c:v>42116</c:v>
                </c:pt>
                <c:pt idx="582">
                  <c:v>42117</c:v>
                </c:pt>
                <c:pt idx="583">
                  <c:v>42118</c:v>
                </c:pt>
                <c:pt idx="584">
                  <c:v>42121</c:v>
                </c:pt>
                <c:pt idx="585">
                  <c:v>42122</c:v>
                </c:pt>
                <c:pt idx="586">
                  <c:v>42123</c:v>
                </c:pt>
                <c:pt idx="587">
                  <c:v>42124</c:v>
                </c:pt>
                <c:pt idx="588">
                  <c:v>42125</c:v>
                </c:pt>
                <c:pt idx="589">
                  <c:v>42128</c:v>
                </c:pt>
                <c:pt idx="590">
                  <c:v>42129</c:v>
                </c:pt>
                <c:pt idx="591">
                  <c:v>42130</c:v>
                </c:pt>
                <c:pt idx="592">
                  <c:v>42131</c:v>
                </c:pt>
                <c:pt idx="593">
                  <c:v>42132</c:v>
                </c:pt>
                <c:pt idx="594">
                  <c:v>42135</c:v>
                </c:pt>
                <c:pt idx="595">
                  <c:v>42136</c:v>
                </c:pt>
                <c:pt idx="596">
                  <c:v>42137</c:v>
                </c:pt>
                <c:pt idx="597">
                  <c:v>42138</c:v>
                </c:pt>
                <c:pt idx="598">
                  <c:v>42139</c:v>
                </c:pt>
                <c:pt idx="599">
                  <c:v>42142</c:v>
                </c:pt>
                <c:pt idx="600">
                  <c:v>42143</c:v>
                </c:pt>
                <c:pt idx="601">
                  <c:v>42144</c:v>
                </c:pt>
                <c:pt idx="602">
                  <c:v>42145</c:v>
                </c:pt>
                <c:pt idx="603">
                  <c:v>42146</c:v>
                </c:pt>
                <c:pt idx="604">
                  <c:v>42149</c:v>
                </c:pt>
                <c:pt idx="605">
                  <c:v>42150</c:v>
                </c:pt>
                <c:pt idx="606">
                  <c:v>42151</c:v>
                </c:pt>
                <c:pt idx="607">
                  <c:v>42152</c:v>
                </c:pt>
                <c:pt idx="608">
                  <c:v>42153</c:v>
                </c:pt>
                <c:pt idx="609">
                  <c:v>42156</c:v>
                </c:pt>
                <c:pt idx="610">
                  <c:v>42157</c:v>
                </c:pt>
                <c:pt idx="611">
                  <c:v>42158</c:v>
                </c:pt>
                <c:pt idx="612">
                  <c:v>42159</c:v>
                </c:pt>
                <c:pt idx="613">
                  <c:v>42160</c:v>
                </c:pt>
                <c:pt idx="614">
                  <c:v>42163</c:v>
                </c:pt>
                <c:pt idx="615">
                  <c:v>42164</c:v>
                </c:pt>
                <c:pt idx="616">
                  <c:v>42165</c:v>
                </c:pt>
                <c:pt idx="617">
                  <c:v>42166</c:v>
                </c:pt>
                <c:pt idx="618">
                  <c:v>42167</c:v>
                </c:pt>
                <c:pt idx="619">
                  <c:v>42170</c:v>
                </c:pt>
                <c:pt idx="620">
                  <c:v>42171</c:v>
                </c:pt>
                <c:pt idx="621">
                  <c:v>42172</c:v>
                </c:pt>
                <c:pt idx="622">
                  <c:v>42173</c:v>
                </c:pt>
                <c:pt idx="623">
                  <c:v>42174</c:v>
                </c:pt>
                <c:pt idx="624">
                  <c:v>42177</c:v>
                </c:pt>
                <c:pt idx="625">
                  <c:v>42178</c:v>
                </c:pt>
                <c:pt idx="626">
                  <c:v>42179</c:v>
                </c:pt>
                <c:pt idx="627">
                  <c:v>42180</c:v>
                </c:pt>
                <c:pt idx="628">
                  <c:v>42181</c:v>
                </c:pt>
                <c:pt idx="629">
                  <c:v>42184</c:v>
                </c:pt>
                <c:pt idx="630">
                  <c:v>42185</c:v>
                </c:pt>
                <c:pt idx="631">
                  <c:v>42186</c:v>
                </c:pt>
                <c:pt idx="632">
                  <c:v>42187</c:v>
                </c:pt>
                <c:pt idx="633">
                  <c:v>42188</c:v>
                </c:pt>
                <c:pt idx="634">
                  <c:v>42191</c:v>
                </c:pt>
                <c:pt idx="635">
                  <c:v>42192</c:v>
                </c:pt>
                <c:pt idx="636">
                  <c:v>42193</c:v>
                </c:pt>
                <c:pt idx="637">
                  <c:v>42194</c:v>
                </c:pt>
                <c:pt idx="638">
                  <c:v>42195</c:v>
                </c:pt>
                <c:pt idx="639">
                  <c:v>42198</c:v>
                </c:pt>
                <c:pt idx="640">
                  <c:v>42199</c:v>
                </c:pt>
                <c:pt idx="641">
                  <c:v>42200</c:v>
                </c:pt>
                <c:pt idx="642">
                  <c:v>42201</c:v>
                </c:pt>
                <c:pt idx="643">
                  <c:v>42202</c:v>
                </c:pt>
                <c:pt idx="644">
                  <c:v>42205</c:v>
                </c:pt>
                <c:pt idx="645">
                  <c:v>42206</c:v>
                </c:pt>
                <c:pt idx="646">
                  <c:v>42207</c:v>
                </c:pt>
                <c:pt idx="647">
                  <c:v>42208</c:v>
                </c:pt>
                <c:pt idx="648">
                  <c:v>42209</c:v>
                </c:pt>
                <c:pt idx="649">
                  <c:v>42212</c:v>
                </c:pt>
                <c:pt idx="650">
                  <c:v>42213</c:v>
                </c:pt>
                <c:pt idx="651">
                  <c:v>42214</c:v>
                </c:pt>
                <c:pt idx="652">
                  <c:v>42215</c:v>
                </c:pt>
                <c:pt idx="653">
                  <c:v>42216</c:v>
                </c:pt>
                <c:pt idx="654">
                  <c:v>42219</c:v>
                </c:pt>
                <c:pt idx="655">
                  <c:v>42220</c:v>
                </c:pt>
                <c:pt idx="656">
                  <c:v>42221</c:v>
                </c:pt>
                <c:pt idx="657">
                  <c:v>42222</c:v>
                </c:pt>
                <c:pt idx="658">
                  <c:v>42223</c:v>
                </c:pt>
                <c:pt idx="659">
                  <c:v>42226</c:v>
                </c:pt>
                <c:pt idx="660">
                  <c:v>42227</c:v>
                </c:pt>
                <c:pt idx="661">
                  <c:v>42228</c:v>
                </c:pt>
                <c:pt idx="662">
                  <c:v>42229</c:v>
                </c:pt>
                <c:pt idx="663">
                  <c:v>42230</c:v>
                </c:pt>
                <c:pt idx="664">
                  <c:v>42233</c:v>
                </c:pt>
                <c:pt idx="665">
                  <c:v>42234</c:v>
                </c:pt>
                <c:pt idx="666">
                  <c:v>42235</c:v>
                </c:pt>
                <c:pt idx="667">
                  <c:v>42236</c:v>
                </c:pt>
                <c:pt idx="668">
                  <c:v>42237</c:v>
                </c:pt>
                <c:pt idx="669">
                  <c:v>42240</c:v>
                </c:pt>
                <c:pt idx="670">
                  <c:v>42241</c:v>
                </c:pt>
                <c:pt idx="671">
                  <c:v>42242</c:v>
                </c:pt>
                <c:pt idx="672">
                  <c:v>42243</c:v>
                </c:pt>
                <c:pt idx="673">
                  <c:v>42244</c:v>
                </c:pt>
                <c:pt idx="674">
                  <c:v>42247</c:v>
                </c:pt>
                <c:pt idx="675">
                  <c:v>42248</c:v>
                </c:pt>
                <c:pt idx="676">
                  <c:v>42249</c:v>
                </c:pt>
                <c:pt idx="677">
                  <c:v>42250</c:v>
                </c:pt>
                <c:pt idx="678">
                  <c:v>42251</c:v>
                </c:pt>
                <c:pt idx="679">
                  <c:v>42254</c:v>
                </c:pt>
                <c:pt idx="680">
                  <c:v>42255</c:v>
                </c:pt>
                <c:pt idx="681">
                  <c:v>42256</c:v>
                </c:pt>
                <c:pt idx="682">
                  <c:v>42257</c:v>
                </c:pt>
                <c:pt idx="683">
                  <c:v>42258</c:v>
                </c:pt>
                <c:pt idx="684">
                  <c:v>42261</c:v>
                </c:pt>
                <c:pt idx="685">
                  <c:v>42262</c:v>
                </c:pt>
                <c:pt idx="686">
                  <c:v>42263</c:v>
                </c:pt>
                <c:pt idx="687">
                  <c:v>42264</c:v>
                </c:pt>
                <c:pt idx="688">
                  <c:v>42265</c:v>
                </c:pt>
                <c:pt idx="689">
                  <c:v>42268</c:v>
                </c:pt>
                <c:pt idx="690">
                  <c:v>42269</c:v>
                </c:pt>
                <c:pt idx="691">
                  <c:v>42270</c:v>
                </c:pt>
                <c:pt idx="692">
                  <c:v>42271</c:v>
                </c:pt>
                <c:pt idx="693">
                  <c:v>42272</c:v>
                </c:pt>
                <c:pt idx="694">
                  <c:v>42275</c:v>
                </c:pt>
                <c:pt idx="695">
                  <c:v>42276</c:v>
                </c:pt>
                <c:pt idx="696">
                  <c:v>42277</c:v>
                </c:pt>
                <c:pt idx="697">
                  <c:v>42278</c:v>
                </c:pt>
                <c:pt idx="698">
                  <c:v>42279</c:v>
                </c:pt>
                <c:pt idx="699">
                  <c:v>42282</c:v>
                </c:pt>
                <c:pt idx="700">
                  <c:v>42283</c:v>
                </c:pt>
                <c:pt idx="701">
                  <c:v>42284</c:v>
                </c:pt>
                <c:pt idx="702">
                  <c:v>42285</c:v>
                </c:pt>
                <c:pt idx="703">
                  <c:v>42286</c:v>
                </c:pt>
                <c:pt idx="704">
                  <c:v>42289</c:v>
                </c:pt>
                <c:pt idx="705">
                  <c:v>42290</c:v>
                </c:pt>
                <c:pt idx="706">
                  <c:v>42291</c:v>
                </c:pt>
                <c:pt idx="707">
                  <c:v>42292</c:v>
                </c:pt>
                <c:pt idx="708">
                  <c:v>42293</c:v>
                </c:pt>
                <c:pt idx="709">
                  <c:v>42296</c:v>
                </c:pt>
                <c:pt idx="710">
                  <c:v>42297</c:v>
                </c:pt>
                <c:pt idx="711">
                  <c:v>42298</c:v>
                </c:pt>
                <c:pt idx="712">
                  <c:v>42299</c:v>
                </c:pt>
                <c:pt idx="713">
                  <c:v>42300</c:v>
                </c:pt>
                <c:pt idx="714">
                  <c:v>42303</c:v>
                </c:pt>
                <c:pt idx="715">
                  <c:v>42304</c:v>
                </c:pt>
                <c:pt idx="716">
                  <c:v>42305</c:v>
                </c:pt>
                <c:pt idx="717">
                  <c:v>42306</c:v>
                </c:pt>
                <c:pt idx="718">
                  <c:v>42307</c:v>
                </c:pt>
                <c:pt idx="719">
                  <c:v>42310</c:v>
                </c:pt>
                <c:pt idx="720">
                  <c:v>42311</c:v>
                </c:pt>
                <c:pt idx="721">
                  <c:v>42312</c:v>
                </c:pt>
                <c:pt idx="722">
                  <c:v>42313</c:v>
                </c:pt>
                <c:pt idx="723">
                  <c:v>42314</c:v>
                </c:pt>
                <c:pt idx="724">
                  <c:v>42317</c:v>
                </c:pt>
                <c:pt idx="725">
                  <c:v>42318</c:v>
                </c:pt>
                <c:pt idx="726">
                  <c:v>42319</c:v>
                </c:pt>
                <c:pt idx="727">
                  <c:v>42320</c:v>
                </c:pt>
                <c:pt idx="728">
                  <c:v>42321</c:v>
                </c:pt>
                <c:pt idx="729">
                  <c:v>42324</c:v>
                </c:pt>
                <c:pt idx="730">
                  <c:v>42325</c:v>
                </c:pt>
                <c:pt idx="731">
                  <c:v>42326</c:v>
                </c:pt>
                <c:pt idx="732">
                  <c:v>42327</c:v>
                </c:pt>
                <c:pt idx="733">
                  <c:v>42328</c:v>
                </c:pt>
                <c:pt idx="734">
                  <c:v>42331</c:v>
                </c:pt>
                <c:pt idx="735">
                  <c:v>42332</c:v>
                </c:pt>
                <c:pt idx="736">
                  <c:v>42333</c:v>
                </c:pt>
                <c:pt idx="737">
                  <c:v>42334</c:v>
                </c:pt>
                <c:pt idx="738">
                  <c:v>42335</c:v>
                </c:pt>
                <c:pt idx="739">
                  <c:v>42338</c:v>
                </c:pt>
                <c:pt idx="740">
                  <c:v>42339</c:v>
                </c:pt>
                <c:pt idx="741">
                  <c:v>42340</c:v>
                </c:pt>
                <c:pt idx="742">
                  <c:v>42341</c:v>
                </c:pt>
                <c:pt idx="743">
                  <c:v>42342</c:v>
                </c:pt>
                <c:pt idx="744">
                  <c:v>42345</c:v>
                </c:pt>
                <c:pt idx="745">
                  <c:v>42346</c:v>
                </c:pt>
                <c:pt idx="746">
                  <c:v>42347</c:v>
                </c:pt>
                <c:pt idx="747">
                  <c:v>42348</c:v>
                </c:pt>
                <c:pt idx="748">
                  <c:v>42349</c:v>
                </c:pt>
                <c:pt idx="749">
                  <c:v>42352</c:v>
                </c:pt>
                <c:pt idx="750">
                  <c:v>42353</c:v>
                </c:pt>
                <c:pt idx="751">
                  <c:v>42354</c:v>
                </c:pt>
                <c:pt idx="752">
                  <c:v>42355</c:v>
                </c:pt>
                <c:pt idx="753">
                  <c:v>42356</c:v>
                </c:pt>
                <c:pt idx="754">
                  <c:v>42359</c:v>
                </c:pt>
                <c:pt idx="755">
                  <c:v>42360</c:v>
                </c:pt>
                <c:pt idx="756">
                  <c:v>42361</c:v>
                </c:pt>
                <c:pt idx="757">
                  <c:v>42362</c:v>
                </c:pt>
                <c:pt idx="758">
                  <c:v>42363</c:v>
                </c:pt>
                <c:pt idx="759">
                  <c:v>42366</c:v>
                </c:pt>
                <c:pt idx="760">
                  <c:v>42367</c:v>
                </c:pt>
                <c:pt idx="761">
                  <c:v>42368</c:v>
                </c:pt>
                <c:pt idx="762">
                  <c:v>42369</c:v>
                </c:pt>
                <c:pt idx="763">
                  <c:v>42370</c:v>
                </c:pt>
                <c:pt idx="764">
                  <c:v>42373</c:v>
                </c:pt>
                <c:pt idx="765">
                  <c:v>42374</c:v>
                </c:pt>
                <c:pt idx="766">
                  <c:v>42375</c:v>
                </c:pt>
                <c:pt idx="767">
                  <c:v>42376</c:v>
                </c:pt>
                <c:pt idx="768">
                  <c:v>42377</c:v>
                </c:pt>
                <c:pt idx="769">
                  <c:v>42380</c:v>
                </c:pt>
                <c:pt idx="770">
                  <c:v>42381</c:v>
                </c:pt>
                <c:pt idx="771">
                  <c:v>42382</c:v>
                </c:pt>
                <c:pt idx="772">
                  <c:v>42383</c:v>
                </c:pt>
                <c:pt idx="773">
                  <c:v>42384</c:v>
                </c:pt>
                <c:pt idx="774">
                  <c:v>42387</c:v>
                </c:pt>
                <c:pt idx="775">
                  <c:v>42388</c:v>
                </c:pt>
                <c:pt idx="776">
                  <c:v>42389</c:v>
                </c:pt>
                <c:pt idx="777">
                  <c:v>42390</c:v>
                </c:pt>
                <c:pt idx="778">
                  <c:v>42391</c:v>
                </c:pt>
                <c:pt idx="779">
                  <c:v>42394</c:v>
                </c:pt>
                <c:pt idx="780">
                  <c:v>42395</c:v>
                </c:pt>
                <c:pt idx="781">
                  <c:v>42396</c:v>
                </c:pt>
                <c:pt idx="782">
                  <c:v>42397</c:v>
                </c:pt>
                <c:pt idx="783">
                  <c:v>42398</c:v>
                </c:pt>
                <c:pt idx="784">
                  <c:v>42401</c:v>
                </c:pt>
                <c:pt idx="785">
                  <c:v>42402</c:v>
                </c:pt>
                <c:pt idx="786">
                  <c:v>42403</c:v>
                </c:pt>
                <c:pt idx="787">
                  <c:v>42404</c:v>
                </c:pt>
                <c:pt idx="788">
                  <c:v>42405</c:v>
                </c:pt>
                <c:pt idx="789">
                  <c:v>42408</c:v>
                </c:pt>
                <c:pt idx="790">
                  <c:v>42409</c:v>
                </c:pt>
                <c:pt idx="791">
                  <c:v>42410</c:v>
                </c:pt>
                <c:pt idx="792">
                  <c:v>42411</c:v>
                </c:pt>
                <c:pt idx="793">
                  <c:v>42412</c:v>
                </c:pt>
                <c:pt idx="794">
                  <c:v>42415</c:v>
                </c:pt>
                <c:pt idx="795">
                  <c:v>42416</c:v>
                </c:pt>
                <c:pt idx="796">
                  <c:v>42417</c:v>
                </c:pt>
                <c:pt idx="797">
                  <c:v>42418</c:v>
                </c:pt>
                <c:pt idx="798">
                  <c:v>42419</c:v>
                </c:pt>
                <c:pt idx="799">
                  <c:v>42422</c:v>
                </c:pt>
                <c:pt idx="800">
                  <c:v>42423</c:v>
                </c:pt>
                <c:pt idx="801">
                  <c:v>42424</c:v>
                </c:pt>
                <c:pt idx="802">
                  <c:v>42425</c:v>
                </c:pt>
                <c:pt idx="803">
                  <c:v>42426</c:v>
                </c:pt>
                <c:pt idx="804">
                  <c:v>42429</c:v>
                </c:pt>
                <c:pt idx="805">
                  <c:v>42430</c:v>
                </c:pt>
                <c:pt idx="806">
                  <c:v>42431</c:v>
                </c:pt>
                <c:pt idx="807">
                  <c:v>42432</c:v>
                </c:pt>
                <c:pt idx="808">
                  <c:v>42433</c:v>
                </c:pt>
                <c:pt idx="809">
                  <c:v>42436</c:v>
                </c:pt>
                <c:pt idx="810">
                  <c:v>42437</c:v>
                </c:pt>
                <c:pt idx="811">
                  <c:v>42438</c:v>
                </c:pt>
                <c:pt idx="812">
                  <c:v>42439</c:v>
                </c:pt>
                <c:pt idx="813">
                  <c:v>42440</c:v>
                </c:pt>
                <c:pt idx="814">
                  <c:v>42443</c:v>
                </c:pt>
                <c:pt idx="815">
                  <c:v>42444</c:v>
                </c:pt>
                <c:pt idx="816">
                  <c:v>42445</c:v>
                </c:pt>
                <c:pt idx="817">
                  <c:v>42446</c:v>
                </c:pt>
                <c:pt idx="818">
                  <c:v>42447</c:v>
                </c:pt>
                <c:pt idx="819">
                  <c:v>42450</c:v>
                </c:pt>
                <c:pt idx="820">
                  <c:v>42451</c:v>
                </c:pt>
                <c:pt idx="821">
                  <c:v>42452</c:v>
                </c:pt>
                <c:pt idx="822">
                  <c:v>42453</c:v>
                </c:pt>
                <c:pt idx="823">
                  <c:v>42454</c:v>
                </c:pt>
                <c:pt idx="824">
                  <c:v>42457</c:v>
                </c:pt>
                <c:pt idx="825">
                  <c:v>42458</c:v>
                </c:pt>
                <c:pt idx="826">
                  <c:v>42459</c:v>
                </c:pt>
                <c:pt idx="827">
                  <c:v>42460</c:v>
                </c:pt>
                <c:pt idx="828">
                  <c:v>42461</c:v>
                </c:pt>
                <c:pt idx="829">
                  <c:v>42464</c:v>
                </c:pt>
                <c:pt idx="830">
                  <c:v>42465</c:v>
                </c:pt>
                <c:pt idx="831">
                  <c:v>42466</c:v>
                </c:pt>
                <c:pt idx="832">
                  <c:v>42467</c:v>
                </c:pt>
                <c:pt idx="833">
                  <c:v>42468</c:v>
                </c:pt>
                <c:pt idx="834">
                  <c:v>42471</c:v>
                </c:pt>
                <c:pt idx="835">
                  <c:v>42472</c:v>
                </c:pt>
                <c:pt idx="836">
                  <c:v>42473</c:v>
                </c:pt>
                <c:pt idx="837">
                  <c:v>42474</c:v>
                </c:pt>
                <c:pt idx="838">
                  <c:v>42475</c:v>
                </c:pt>
                <c:pt idx="839">
                  <c:v>42478</c:v>
                </c:pt>
                <c:pt idx="840">
                  <c:v>42479</c:v>
                </c:pt>
                <c:pt idx="841">
                  <c:v>42480</c:v>
                </c:pt>
                <c:pt idx="842">
                  <c:v>42481</c:v>
                </c:pt>
                <c:pt idx="843">
                  <c:v>42482</c:v>
                </c:pt>
                <c:pt idx="844">
                  <c:v>42485</c:v>
                </c:pt>
                <c:pt idx="845">
                  <c:v>42486</c:v>
                </c:pt>
                <c:pt idx="846">
                  <c:v>42487</c:v>
                </c:pt>
                <c:pt idx="847">
                  <c:v>42488</c:v>
                </c:pt>
                <c:pt idx="848">
                  <c:v>42489</c:v>
                </c:pt>
                <c:pt idx="849">
                  <c:v>42492</c:v>
                </c:pt>
                <c:pt idx="850">
                  <c:v>42493</c:v>
                </c:pt>
                <c:pt idx="851">
                  <c:v>42494</c:v>
                </c:pt>
                <c:pt idx="852">
                  <c:v>42495</c:v>
                </c:pt>
                <c:pt idx="853">
                  <c:v>42496</c:v>
                </c:pt>
                <c:pt idx="854">
                  <c:v>42499</c:v>
                </c:pt>
                <c:pt idx="855">
                  <c:v>42500</c:v>
                </c:pt>
                <c:pt idx="856">
                  <c:v>42501</c:v>
                </c:pt>
                <c:pt idx="857">
                  <c:v>42502</c:v>
                </c:pt>
                <c:pt idx="858">
                  <c:v>42503</c:v>
                </c:pt>
                <c:pt idx="859">
                  <c:v>42506</c:v>
                </c:pt>
                <c:pt idx="860">
                  <c:v>42507</c:v>
                </c:pt>
                <c:pt idx="861">
                  <c:v>42508</c:v>
                </c:pt>
                <c:pt idx="862">
                  <c:v>42509</c:v>
                </c:pt>
                <c:pt idx="863">
                  <c:v>42510</c:v>
                </c:pt>
                <c:pt idx="864">
                  <c:v>42513</c:v>
                </c:pt>
                <c:pt idx="865">
                  <c:v>42514</c:v>
                </c:pt>
                <c:pt idx="866">
                  <c:v>42515</c:v>
                </c:pt>
                <c:pt idx="867">
                  <c:v>42516</c:v>
                </c:pt>
                <c:pt idx="868">
                  <c:v>42517</c:v>
                </c:pt>
                <c:pt idx="869">
                  <c:v>42520</c:v>
                </c:pt>
                <c:pt idx="870">
                  <c:v>42521</c:v>
                </c:pt>
                <c:pt idx="871">
                  <c:v>42522</c:v>
                </c:pt>
                <c:pt idx="872">
                  <c:v>42523</c:v>
                </c:pt>
                <c:pt idx="873">
                  <c:v>42524</c:v>
                </c:pt>
                <c:pt idx="874">
                  <c:v>42527</c:v>
                </c:pt>
                <c:pt idx="875">
                  <c:v>42528</c:v>
                </c:pt>
                <c:pt idx="876">
                  <c:v>42529</c:v>
                </c:pt>
                <c:pt idx="877">
                  <c:v>42530</c:v>
                </c:pt>
                <c:pt idx="878">
                  <c:v>42531</c:v>
                </c:pt>
                <c:pt idx="879">
                  <c:v>42534</c:v>
                </c:pt>
                <c:pt idx="880">
                  <c:v>42535</c:v>
                </c:pt>
                <c:pt idx="881">
                  <c:v>42536</c:v>
                </c:pt>
                <c:pt idx="882">
                  <c:v>42537</c:v>
                </c:pt>
                <c:pt idx="883">
                  <c:v>42538</c:v>
                </c:pt>
                <c:pt idx="884">
                  <c:v>42541</c:v>
                </c:pt>
                <c:pt idx="885">
                  <c:v>42542</c:v>
                </c:pt>
                <c:pt idx="886">
                  <c:v>42543</c:v>
                </c:pt>
                <c:pt idx="887">
                  <c:v>42544</c:v>
                </c:pt>
                <c:pt idx="888">
                  <c:v>42545</c:v>
                </c:pt>
                <c:pt idx="889">
                  <c:v>42548</c:v>
                </c:pt>
                <c:pt idx="890">
                  <c:v>42549</c:v>
                </c:pt>
                <c:pt idx="891">
                  <c:v>42550</c:v>
                </c:pt>
                <c:pt idx="892">
                  <c:v>42551</c:v>
                </c:pt>
                <c:pt idx="893">
                  <c:v>42552</c:v>
                </c:pt>
                <c:pt idx="894">
                  <c:v>42555</c:v>
                </c:pt>
                <c:pt idx="895">
                  <c:v>42556</c:v>
                </c:pt>
                <c:pt idx="896">
                  <c:v>42557</c:v>
                </c:pt>
                <c:pt idx="897">
                  <c:v>42558</c:v>
                </c:pt>
                <c:pt idx="898">
                  <c:v>42559</c:v>
                </c:pt>
                <c:pt idx="899">
                  <c:v>42562</c:v>
                </c:pt>
                <c:pt idx="900">
                  <c:v>42563</c:v>
                </c:pt>
                <c:pt idx="901">
                  <c:v>42564</c:v>
                </c:pt>
                <c:pt idx="902">
                  <c:v>42565</c:v>
                </c:pt>
                <c:pt idx="903">
                  <c:v>42566</c:v>
                </c:pt>
                <c:pt idx="904">
                  <c:v>42569</c:v>
                </c:pt>
                <c:pt idx="905">
                  <c:v>42570</c:v>
                </c:pt>
                <c:pt idx="906">
                  <c:v>42571</c:v>
                </c:pt>
                <c:pt idx="907">
                  <c:v>42572</c:v>
                </c:pt>
                <c:pt idx="908">
                  <c:v>42573</c:v>
                </c:pt>
                <c:pt idx="909">
                  <c:v>42576</c:v>
                </c:pt>
                <c:pt idx="910">
                  <c:v>42577</c:v>
                </c:pt>
                <c:pt idx="911">
                  <c:v>42578</c:v>
                </c:pt>
                <c:pt idx="912">
                  <c:v>42579</c:v>
                </c:pt>
                <c:pt idx="913">
                  <c:v>42580</c:v>
                </c:pt>
                <c:pt idx="914">
                  <c:v>42583</c:v>
                </c:pt>
                <c:pt idx="915">
                  <c:v>42584</c:v>
                </c:pt>
                <c:pt idx="916">
                  <c:v>42585</c:v>
                </c:pt>
                <c:pt idx="917">
                  <c:v>42586</c:v>
                </c:pt>
                <c:pt idx="918">
                  <c:v>42587</c:v>
                </c:pt>
                <c:pt idx="919">
                  <c:v>42590</c:v>
                </c:pt>
                <c:pt idx="920">
                  <c:v>42591</c:v>
                </c:pt>
                <c:pt idx="921">
                  <c:v>42592</c:v>
                </c:pt>
                <c:pt idx="922">
                  <c:v>42593</c:v>
                </c:pt>
                <c:pt idx="923">
                  <c:v>42594</c:v>
                </c:pt>
                <c:pt idx="924">
                  <c:v>42597</c:v>
                </c:pt>
                <c:pt idx="925">
                  <c:v>42598</c:v>
                </c:pt>
                <c:pt idx="926">
                  <c:v>42599</c:v>
                </c:pt>
                <c:pt idx="927">
                  <c:v>42600</c:v>
                </c:pt>
                <c:pt idx="928">
                  <c:v>42601</c:v>
                </c:pt>
                <c:pt idx="929">
                  <c:v>42604</c:v>
                </c:pt>
                <c:pt idx="930">
                  <c:v>42605</c:v>
                </c:pt>
                <c:pt idx="931">
                  <c:v>42606</c:v>
                </c:pt>
                <c:pt idx="932">
                  <c:v>42607</c:v>
                </c:pt>
                <c:pt idx="933">
                  <c:v>42608</c:v>
                </c:pt>
                <c:pt idx="934">
                  <c:v>42611</c:v>
                </c:pt>
                <c:pt idx="935">
                  <c:v>42612</c:v>
                </c:pt>
                <c:pt idx="936">
                  <c:v>42613</c:v>
                </c:pt>
                <c:pt idx="937">
                  <c:v>42614</c:v>
                </c:pt>
                <c:pt idx="938">
                  <c:v>42615</c:v>
                </c:pt>
                <c:pt idx="939">
                  <c:v>42618</c:v>
                </c:pt>
                <c:pt idx="940">
                  <c:v>42619</c:v>
                </c:pt>
                <c:pt idx="941">
                  <c:v>42620</c:v>
                </c:pt>
                <c:pt idx="942">
                  <c:v>42621</c:v>
                </c:pt>
                <c:pt idx="943">
                  <c:v>42622</c:v>
                </c:pt>
                <c:pt idx="944">
                  <c:v>42625</c:v>
                </c:pt>
                <c:pt idx="945">
                  <c:v>42626</c:v>
                </c:pt>
                <c:pt idx="946">
                  <c:v>42627</c:v>
                </c:pt>
                <c:pt idx="947">
                  <c:v>42628</c:v>
                </c:pt>
                <c:pt idx="948">
                  <c:v>42629</c:v>
                </c:pt>
                <c:pt idx="949">
                  <c:v>42632</c:v>
                </c:pt>
                <c:pt idx="950">
                  <c:v>42633</c:v>
                </c:pt>
                <c:pt idx="951">
                  <c:v>42634</c:v>
                </c:pt>
                <c:pt idx="952">
                  <c:v>42635</c:v>
                </c:pt>
                <c:pt idx="953">
                  <c:v>42636</c:v>
                </c:pt>
                <c:pt idx="954">
                  <c:v>42639</c:v>
                </c:pt>
                <c:pt idx="955">
                  <c:v>42640</c:v>
                </c:pt>
                <c:pt idx="956">
                  <c:v>42641</c:v>
                </c:pt>
                <c:pt idx="957">
                  <c:v>42642</c:v>
                </c:pt>
                <c:pt idx="958">
                  <c:v>42643</c:v>
                </c:pt>
                <c:pt idx="959">
                  <c:v>42646</c:v>
                </c:pt>
                <c:pt idx="960">
                  <c:v>42647</c:v>
                </c:pt>
                <c:pt idx="961">
                  <c:v>42648</c:v>
                </c:pt>
                <c:pt idx="962">
                  <c:v>42649</c:v>
                </c:pt>
                <c:pt idx="963">
                  <c:v>42650</c:v>
                </c:pt>
                <c:pt idx="964">
                  <c:v>42653</c:v>
                </c:pt>
                <c:pt idx="965">
                  <c:v>42654</c:v>
                </c:pt>
                <c:pt idx="966">
                  <c:v>42655</c:v>
                </c:pt>
                <c:pt idx="967">
                  <c:v>42656</c:v>
                </c:pt>
                <c:pt idx="968">
                  <c:v>42657</c:v>
                </c:pt>
                <c:pt idx="969">
                  <c:v>42660</c:v>
                </c:pt>
                <c:pt idx="970">
                  <c:v>42661</c:v>
                </c:pt>
                <c:pt idx="971">
                  <c:v>42662</c:v>
                </c:pt>
                <c:pt idx="972">
                  <c:v>42663</c:v>
                </c:pt>
                <c:pt idx="973">
                  <c:v>42664</c:v>
                </c:pt>
                <c:pt idx="974">
                  <c:v>42667</c:v>
                </c:pt>
                <c:pt idx="975">
                  <c:v>42668</c:v>
                </c:pt>
                <c:pt idx="976">
                  <c:v>42669</c:v>
                </c:pt>
                <c:pt idx="977">
                  <c:v>42670</c:v>
                </c:pt>
                <c:pt idx="978">
                  <c:v>42671</c:v>
                </c:pt>
                <c:pt idx="979">
                  <c:v>42674</c:v>
                </c:pt>
                <c:pt idx="980">
                  <c:v>42675</c:v>
                </c:pt>
                <c:pt idx="981">
                  <c:v>42676</c:v>
                </c:pt>
                <c:pt idx="982">
                  <c:v>42677</c:v>
                </c:pt>
                <c:pt idx="983">
                  <c:v>42678</c:v>
                </c:pt>
                <c:pt idx="984">
                  <c:v>42681</c:v>
                </c:pt>
                <c:pt idx="985">
                  <c:v>42682</c:v>
                </c:pt>
                <c:pt idx="986">
                  <c:v>42683</c:v>
                </c:pt>
                <c:pt idx="987">
                  <c:v>42684</c:v>
                </c:pt>
                <c:pt idx="988">
                  <c:v>42685</c:v>
                </c:pt>
                <c:pt idx="989">
                  <c:v>42688</c:v>
                </c:pt>
                <c:pt idx="990">
                  <c:v>42689</c:v>
                </c:pt>
                <c:pt idx="991">
                  <c:v>42690</c:v>
                </c:pt>
                <c:pt idx="992">
                  <c:v>42691</c:v>
                </c:pt>
                <c:pt idx="993">
                  <c:v>42692</c:v>
                </c:pt>
                <c:pt idx="994">
                  <c:v>42695</c:v>
                </c:pt>
                <c:pt idx="995">
                  <c:v>42696</c:v>
                </c:pt>
                <c:pt idx="996">
                  <c:v>42697</c:v>
                </c:pt>
                <c:pt idx="997">
                  <c:v>42698</c:v>
                </c:pt>
                <c:pt idx="998">
                  <c:v>42699</c:v>
                </c:pt>
                <c:pt idx="999">
                  <c:v>42702</c:v>
                </c:pt>
                <c:pt idx="1000">
                  <c:v>42703</c:v>
                </c:pt>
                <c:pt idx="1001">
                  <c:v>42704</c:v>
                </c:pt>
                <c:pt idx="1002">
                  <c:v>42705</c:v>
                </c:pt>
                <c:pt idx="1003">
                  <c:v>42706</c:v>
                </c:pt>
                <c:pt idx="1004">
                  <c:v>42709</c:v>
                </c:pt>
                <c:pt idx="1005">
                  <c:v>42710</c:v>
                </c:pt>
                <c:pt idx="1006">
                  <c:v>42711</c:v>
                </c:pt>
                <c:pt idx="1007">
                  <c:v>42712</c:v>
                </c:pt>
                <c:pt idx="1008">
                  <c:v>42713</c:v>
                </c:pt>
                <c:pt idx="1009">
                  <c:v>42716</c:v>
                </c:pt>
                <c:pt idx="1010">
                  <c:v>42717</c:v>
                </c:pt>
                <c:pt idx="1011">
                  <c:v>42718</c:v>
                </c:pt>
                <c:pt idx="1012">
                  <c:v>42719</c:v>
                </c:pt>
                <c:pt idx="1013">
                  <c:v>42720</c:v>
                </c:pt>
                <c:pt idx="1014">
                  <c:v>42748</c:v>
                </c:pt>
                <c:pt idx="1015">
                  <c:v>42751</c:v>
                </c:pt>
                <c:pt idx="1016">
                  <c:v>42752</c:v>
                </c:pt>
                <c:pt idx="1017">
                  <c:v>42753</c:v>
                </c:pt>
                <c:pt idx="1018">
                  <c:v>42754</c:v>
                </c:pt>
                <c:pt idx="1019">
                  <c:v>42755</c:v>
                </c:pt>
                <c:pt idx="1020">
                  <c:v>42758</c:v>
                </c:pt>
                <c:pt idx="1021">
                  <c:v>42759</c:v>
                </c:pt>
                <c:pt idx="1022">
                  <c:v>42760</c:v>
                </c:pt>
                <c:pt idx="1023">
                  <c:v>42761</c:v>
                </c:pt>
                <c:pt idx="1024">
                  <c:v>42762</c:v>
                </c:pt>
                <c:pt idx="1025">
                  <c:v>42765</c:v>
                </c:pt>
                <c:pt idx="1026">
                  <c:v>42766</c:v>
                </c:pt>
                <c:pt idx="1027">
                  <c:v>42767</c:v>
                </c:pt>
                <c:pt idx="1028">
                  <c:v>42768</c:v>
                </c:pt>
                <c:pt idx="1029">
                  <c:v>42769</c:v>
                </c:pt>
                <c:pt idx="1030">
                  <c:v>42772</c:v>
                </c:pt>
                <c:pt idx="1031">
                  <c:v>42773</c:v>
                </c:pt>
                <c:pt idx="1032">
                  <c:v>42774</c:v>
                </c:pt>
                <c:pt idx="1033">
                  <c:v>42775</c:v>
                </c:pt>
                <c:pt idx="1034">
                  <c:v>42776</c:v>
                </c:pt>
                <c:pt idx="1035">
                  <c:v>42779</c:v>
                </c:pt>
                <c:pt idx="1036">
                  <c:v>42780</c:v>
                </c:pt>
                <c:pt idx="1037">
                  <c:v>42781</c:v>
                </c:pt>
                <c:pt idx="1038">
                  <c:v>42782</c:v>
                </c:pt>
                <c:pt idx="1039">
                  <c:v>42783</c:v>
                </c:pt>
                <c:pt idx="1040">
                  <c:v>42786</c:v>
                </c:pt>
                <c:pt idx="1041">
                  <c:v>42787</c:v>
                </c:pt>
                <c:pt idx="1042">
                  <c:v>42788</c:v>
                </c:pt>
                <c:pt idx="1043">
                  <c:v>42789</c:v>
                </c:pt>
                <c:pt idx="1044">
                  <c:v>42790</c:v>
                </c:pt>
                <c:pt idx="1045">
                  <c:v>42793</c:v>
                </c:pt>
                <c:pt idx="1046">
                  <c:v>42794</c:v>
                </c:pt>
                <c:pt idx="1047">
                  <c:v>42795</c:v>
                </c:pt>
                <c:pt idx="1048">
                  <c:v>42796</c:v>
                </c:pt>
                <c:pt idx="1049">
                  <c:v>42797</c:v>
                </c:pt>
                <c:pt idx="1050">
                  <c:v>42800</c:v>
                </c:pt>
                <c:pt idx="1051">
                  <c:v>42801</c:v>
                </c:pt>
                <c:pt idx="1052">
                  <c:v>42802</c:v>
                </c:pt>
                <c:pt idx="1053">
                  <c:v>42803</c:v>
                </c:pt>
                <c:pt idx="1054">
                  <c:v>42804</c:v>
                </c:pt>
                <c:pt idx="1055">
                  <c:v>42807</c:v>
                </c:pt>
                <c:pt idx="1056">
                  <c:v>42808</c:v>
                </c:pt>
                <c:pt idx="1057">
                  <c:v>42809</c:v>
                </c:pt>
                <c:pt idx="1058">
                  <c:v>42810</c:v>
                </c:pt>
                <c:pt idx="1059">
                  <c:v>42811</c:v>
                </c:pt>
                <c:pt idx="1060">
                  <c:v>42814</c:v>
                </c:pt>
                <c:pt idx="1061">
                  <c:v>42815</c:v>
                </c:pt>
                <c:pt idx="1062">
                  <c:v>42816</c:v>
                </c:pt>
                <c:pt idx="1063">
                  <c:v>42817</c:v>
                </c:pt>
                <c:pt idx="1064">
                  <c:v>42818</c:v>
                </c:pt>
                <c:pt idx="1065">
                  <c:v>42821</c:v>
                </c:pt>
                <c:pt idx="1066">
                  <c:v>42822</c:v>
                </c:pt>
                <c:pt idx="1067">
                  <c:v>42823</c:v>
                </c:pt>
                <c:pt idx="1068">
                  <c:v>42824</c:v>
                </c:pt>
                <c:pt idx="1069">
                  <c:v>42825</c:v>
                </c:pt>
                <c:pt idx="1070">
                  <c:v>42852</c:v>
                </c:pt>
                <c:pt idx="1071">
                  <c:v>42853</c:v>
                </c:pt>
                <c:pt idx="1072">
                  <c:v>42856</c:v>
                </c:pt>
                <c:pt idx="1073">
                  <c:v>42857</c:v>
                </c:pt>
                <c:pt idx="1074">
                  <c:v>42858</c:v>
                </c:pt>
                <c:pt idx="1075">
                  <c:v>42859</c:v>
                </c:pt>
                <c:pt idx="1076">
                  <c:v>42860</c:v>
                </c:pt>
                <c:pt idx="1077">
                  <c:v>42863</c:v>
                </c:pt>
                <c:pt idx="1078">
                  <c:v>42864</c:v>
                </c:pt>
                <c:pt idx="1079">
                  <c:v>42865</c:v>
                </c:pt>
                <c:pt idx="1080">
                  <c:v>42866</c:v>
                </c:pt>
                <c:pt idx="1081">
                  <c:v>42867</c:v>
                </c:pt>
                <c:pt idx="1082">
                  <c:v>42870</c:v>
                </c:pt>
                <c:pt idx="1083">
                  <c:v>42871</c:v>
                </c:pt>
                <c:pt idx="1084">
                  <c:v>42872</c:v>
                </c:pt>
                <c:pt idx="1085">
                  <c:v>42873</c:v>
                </c:pt>
                <c:pt idx="1086">
                  <c:v>42874</c:v>
                </c:pt>
                <c:pt idx="1087">
                  <c:v>42877</c:v>
                </c:pt>
                <c:pt idx="1088">
                  <c:v>42878</c:v>
                </c:pt>
                <c:pt idx="1089">
                  <c:v>42879</c:v>
                </c:pt>
                <c:pt idx="1090">
                  <c:v>42880</c:v>
                </c:pt>
                <c:pt idx="1091">
                  <c:v>42881</c:v>
                </c:pt>
                <c:pt idx="1092">
                  <c:v>42884</c:v>
                </c:pt>
                <c:pt idx="1093">
                  <c:v>42885</c:v>
                </c:pt>
                <c:pt idx="1094">
                  <c:v>42886</c:v>
                </c:pt>
                <c:pt idx="1095">
                  <c:v>42887</c:v>
                </c:pt>
                <c:pt idx="1096">
                  <c:v>42888</c:v>
                </c:pt>
                <c:pt idx="1097">
                  <c:v>42891</c:v>
                </c:pt>
                <c:pt idx="1098">
                  <c:v>42892</c:v>
                </c:pt>
                <c:pt idx="1099">
                  <c:v>42893</c:v>
                </c:pt>
                <c:pt idx="1100">
                  <c:v>42894</c:v>
                </c:pt>
                <c:pt idx="1101">
                  <c:v>42895</c:v>
                </c:pt>
                <c:pt idx="1102">
                  <c:v>42898</c:v>
                </c:pt>
                <c:pt idx="1103">
                  <c:v>42899</c:v>
                </c:pt>
                <c:pt idx="1104">
                  <c:v>42900</c:v>
                </c:pt>
                <c:pt idx="1105">
                  <c:v>42901</c:v>
                </c:pt>
                <c:pt idx="1106">
                  <c:v>42902</c:v>
                </c:pt>
                <c:pt idx="1107">
                  <c:v>42905</c:v>
                </c:pt>
                <c:pt idx="1108">
                  <c:v>42906</c:v>
                </c:pt>
                <c:pt idx="1109">
                  <c:v>42907</c:v>
                </c:pt>
                <c:pt idx="1110">
                  <c:v>42908</c:v>
                </c:pt>
                <c:pt idx="1111">
                  <c:v>42909</c:v>
                </c:pt>
                <c:pt idx="1112">
                  <c:v>42912</c:v>
                </c:pt>
                <c:pt idx="1113">
                  <c:v>42913</c:v>
                </c:pt>
                <c:pt idx="1114">
                  <c:v>42914</c:v>
                </c:pt>
                <c:pt idx="1115">
                  <c:v>42915</c:v>
                </c:pt>
                <c:pt idx="1116">
                  <c:v>42916</c:v>
                </c:pt>
                <c:pt idx="1117">
                  <c:v>42919</c:v>
                </c:pt>
                <c:pt idx="1118">
                  <c:v>42920</c:v>
                </c:pt>
                <c:pt idx="1119">
                  <c:v>42921</c:v>
                </c:pt>
                <c:pt idx="1120">
                  <c:v>42922</c:v>
                </c:pt>
                <c:pt idx="1121">
                  <c:v>42923</c:v>
                </c:pt>
                <c:pt idx="1122">
                  <c:v>42926</c:v>
                </c:pt>
                <c:pt idx="1123">
                  <c:v>42927</c:v>
                </c:pt>
                <c:pt idx="1124">
                  <c:v>42928</c:v>
                </c:pt>
                <c:pt idx="1125">
                  <c:v>42929</c:v>
                </c:pt>
                <c:pt idx="1126">
                  <c:v>42930</c:v>
                </c:pt>
                <c:pt idx="1127">
                  <c:v>42933</c:v>
                </c:pt>
                <c:pt idx="1128">
                  <c:v>42934</c:v>
                </c:pt>
                <c:pt idx="1129">
                  <c:v>42935</c:v>
                </c:pt>
                <c:pt idx="1130">
                  <c:v>42936</c:v>
                </c:pt>
                <c:pt idx="1131">
                  <c:v>42937</c:v>
                </c:pt>
                <c:pt idx="1132">
                  <c:v>42940</c:v>
                </c:pt>
                <c:pt idx="1133">
                  <c:v>42941</c:v>
                </c:pt>
                <c:pt idx="1134">
                  <c:v>42942</c:v>
                </c:pt>
                <c:pt idx="1135">
                  <c:v>42943</c:v>
                </c:pt>
                <c:pt idx="1136">
                  <c:v>42944</c:v>
                </c:pt>
                <c:pt idx="1137">
                  <c:v>42947</c:v>
                </c:pt>
                <c:pt idx="1138">
                  <c:v>42948</c:v>
                </c:pt>
                <c:pt idx="1139">
                  <c:v>42949</c:v>
                </c:pt>
                <c:pt idx="1140">
                  <c:v>42950</c:v>
                </c:pt>
                <c:pt idx="1141">
                  <c:v>42951</c:v>
                </c:pt>
                <c:pt idx="1142">
                  <c:v>42954</c:v>
                </c:pt>
                <c:pt idx="1143">
                  <c:v>42955</c:v>
                </c:pt>
                <c:pt idx="1144">
                  <c:v>42956</c:v>
                </c:pt>
                <c:pt idx="1145">
                  <c:v>42957</c:v>
                </c:pt>
                <c:pt idx="1146">
                  <c:v>42958</c:v>
                </c:pt>
                <c:pt idx="1147">
                  <c:v>42961</c:v>
                </c:pt>
                <c:pt idx="1148">
                  <c:v>42962</c:v>
                </c:pt>
                <c:pt idx="1149">
                  <c:v>42963</c:v>
                </c:pt>
                <c:pt idx="1150">
                  <c:v>42964</c:v>
                </c:pt>
                <c:pt idx="1151">
                  <c:v>42965</c:v>
                </c:pt>
                <c:pt idx="1152">
                  <c:v>42968</c:v>
                </c:pt>
                <c:pt idx="1153">
                  <c:v>42969</c:v>
                </c:pt>
                <c:pt idx="1154">
                  <c:v>42970</c:v>
                </c:pt>
                <c:pt idx="1155">
                  <c:v>42971</c:v>
                </c:pt>
                <c:pt idx="1156">
                  <c:v>42972</c:v>
                </c:pt>
                <c:pt idx="1157">
                  <c:v>42975</c:v>
                </c:pt>
                <c:pt idx="1158">
                  <c:v>42976</c:v>
                </c:pt>
                <c:pt idx="1159">
                  <c:v>42977</c:v>
                </c:pt>
                <c:pt idx="1160">
                  <c:v>42978</c:v>
                </c:pt>
                <c:pt idx="1161">
                  <c:v>42979</c:v>
                </c:pt>
                <c:pt idx="1162">
                  <c:v>42982</c:v>
                </c:pt>
                <c:pt idx="1163">
                  <c:v>42983</c:v>
                </c:pt>
                <c:pt idx="1164">
                  <c:v>42984</c:v>
                </c:pt>
                <c:pt idx="1165">
                  <c:v>42985</c:v>
                </c:pt>
                <c:pt idx="1166">
                  <c:v>42986</c:v>
                </c:pt>
                <c:pt idx="1167">
                  <c:v>42989</c:v>
                </c:pt>
                <c:pt idx="1168">
                  <c:v>42990</c:v>
                </c:pt>
                <c:pt idx="1169">
                  <c:v>42991</c:v>
                </c:pt>
                <c:pt idx="1170">
                  <c:v>42992</c:v>
                </c:pt>
                <c:pt idx="1171">
                  <c:v>42993</c:v>
                </c:pt>
                <c:pt idx="1172">
                  <c:v>42996</c:v>
                </c:pt>
                <c:pt idx="1173">
                  <c:v>42997</c:v>
                </c:pt>
                <c:pt idx="1174">
                  <c:v>42998</c:v>
                </c:pt>
                <c:pt idx="1175">
                  <c:v>42999</c:v>
                </c:pt>
                <c:pt idx="1176">
                  <c:v>43000</c:v>
                </c:pt>
                <c:pt idx="1177">
                  <c:v>43003</c:v>
                </c:pt>
                <c:pt idx="1178">
                  <c:v>43004</c:v>
                </c:pt>
                <c:pt idx="1179">
                  <c:v>43005</c:v>
                </c:pt>
                <c:pt idx="1180">
                  <c:v>43006</c:v>
                </c:pt>
                <c:pt idx="1181">
                  <c:v>43007</c:v>
                </c:pt>
                <c:pt idx="1182">
                  <c:v>43010</c:v>
                </c:pt>
                <c:pt idx="1183">
                  <c:v>43011</c:v>
                </c:pt>
                <c:pt idx="1184">
                  <c:v>43012</c:v>
                </c:pt>
                <c:pt idx="1185">
                  <c:v>43013</c:v>
                </c:pt>
                <c:pt idx="1186">
                  <c:v>43014</c:v>
                </c:pt>
                <c:pt idx="1187">
                  <c:v>43017</c:v>
                </c:pt>
                <c:pt idx="1188">
                  <c:v>43018</c:v>
                </c:pt>
                <c:pt idx="1189">
                  <c:v>43019</c:v>
                </c:pt>
                <c:pt idx="1190">
                  <c:v>43020</c:v>
                </c:pt>
                <c:pt idx="1191">
                  <c:v>43021</c:v>
                </c:pt>
                <c:pt idx="1192">
                  <c:v>43024</c:v>
                </c:pt>
                <c:pt idx="1193">
                  <c:v>43025</c:v>
                </c:pt>
                <c:pt idx="1194">
                  <c:v>43026</c:v>
                </c:pt>
                <c:pt idx="1195">
                  <c:v>43027</c:v>
                </c:pt>
                <c:pt idx="1196">
                  <c:v>43028</c:v>
                </c:pt>
                <c:pt idx="1197">
                  <c:v>43031</c:v>
                </c:pt>
                <c:pt idx="1198">
                  <c:v>43032</c:v>
                </c:pt>
                <c:pt idx="1199">
                  <c:v>43033</c:v>
                </c:pt>
                <c:pt idx="1200">
                  <c:v>43034</c:v>
                </c:pt>
                <c:pt idx="1201">
                  <c:v>43035</c:v>
                </c:pt>
                <c:pt idx="1202">
                  <c:v>43038</c:v>
                </c:pt>
                <c:pt idx="1203">
                  <c:v>43039</c:v>
                </c:pt>
                <c:pt idx="1204">
                  <c:v>43040</c:v>
                </c:pt>
                <c:pt idx="1205">
                  <c:v>43041</c:v>
                </c:pt>
                <c:pt idx="1206">
                  <c:v>43042</c:v>
                </c:pt>
                <c:pt idx="1207">
                  <c:v>43045</c:v>
                </c:pt>
                <c:pt idx="1208">
                  <c:v>43046</c:v>
                </c:pt>
                <c:pt idx="1209">
                  <c:v>43047</c:v>
                </c:pt>
                <c:pt idx="1210">
                  <c:v>43048</c:v>
                </c:pt>
                <c:pt idx="1211">
                  <c:v>43049</c:v>
                </c:pt>
                <c:pt idx="1212">
                  <c:v>43052</c:v>
                </c:pt>
                <c:pt idx="1213">
                  <c:v>43053</c:v>
                </c:pt>
                <c:pt idx="1214">
                  <c:v>43054</c:v>
                </c:pt>
                <c:pt idx="1215">
                  <c:v>43055</c:v>
                </c:pt>
                <c:pt idx="1216">
                  <c:v>43056</c:v>
                </c:pt>
                <c:pt idx="1217">
                  <c:v>43059</c:v>
                </c:pt>
                <c:pt idx="1218">
                  <c:v>43060</c:v>
                </c:pt>
                <c:pt idx="1219">
                  <c:v>43061</c:v>
                </c:pt>
                <c:pt idx="1220">
                  <c:v>43062</c:v>
                </c:pt>
                <c:pt idx="1221">
                  <c:v>43063</c:v>
                </c:pt>
                <c:pt idx="1222">
                  <c:v>43066</c:v>
                </c:pt>
                <c:pt idx="1223">
                  <c:v>43067</c:v>
                </c:pt>
                <c:pt idx="1224">
                  <c:v>43068</c:v>
                </c:pt>
                <c:pt idx="1225">
                  <c:v>43069</c:v>
                </c:pt>
                <c:pt idx="1226">
                  <c:v>43070</c:v>
                </c:pt>
                <c:pt idx="1227">
                  <c:v>43073</c:v>
                </c:pt>
                <c:pt idx="1228">
                  <c:v>43074</c:v>
                </c:pt>
                <c:pt idx="1229">
                  <c:v>43075</c:v>
                </c:pt>
                <c:pt idx="1230">
                  <c:v>43076</c:v>
                </c:pt>
                <c:pt idx="1231">
                  <c:v>43077</c:v>
                </c:pt>
                <c:pt idx="1232">
                  <c:v>43080</c:v>
                </c:pt>
                <c:pt idx="1233">
                  <c:v>43081</c:v>
                </c:pt>
                <c:pt idx="1234">
                  <c:v>43082</c:v>
                </c:pt>
                <c:pt idx="1235">
                  <c:v>43083</c:v>
                </c:pt>
                <c:pt idx="1236">
                  <c:v>43084</c:v>
                </c:pt>
                <c:pt idx="1237">
                  <c:v>43087</c:v>
                </c:pt>
                <c:pt idx="1238">
                  <c:v>43088</c:v>
                </c:pt>
                <c:pt idx="1239">
                  <c:v>43089</c:v>
                </c:pt>
                <c:pt idx="1240">
                  <c:v>43090</c:v>
                </c:pt>
                <c:pt idx="1241">
                  <c:v>43091</c:v>
                </c:pt>
                <c:pt idx="1242">
                  <c:v>43094</c:v>
                </c:pt>
                <c:pt idx="1243">
                  <c:v>43095</c:v>
                </c:pt>
                <c:pt idx="1244">
                  <c:v>43096</c:v>
                </c:pt>
                <c:pt idx="1245">
                  <c:v>43097</c:v>
                </c:pt>
                <c:pt idx="1246">
                  <c:v>43098</c:v>
                </c:pt>
                <c:pt idx="1247">
                  <c:v>43101</c:v>
                </c:pt>
                <c:pt idx="1248">
                  <c:v>43102</c:v>
                </c:pt>
                <c:pt idx="1249">
                  <c:v>43103</c:v>
                </c:pt>
                <c:pt idx="1250">
                  <c:v>43104</c:v>
                </c:pt>
                <c:pt idx="1251">
                  <c:v>43105</c:v>
                </c:pt>
                <c:pt idx="1252">
                  <c:v>43108</c:v>
                </c:pt>
                <c:pt idx="1253">
                  <c:v>43109</c:v>
                </c:pt>
                <c:pt idx="1254">
                  <c:v>43110</c:v>
                </c:pt>
                <c:pt idx="1255">
                  <c:v>43111</c:v>
                </c:pt>
                <c:pt idx="1256">
                  <c:v>43112</c:v>
                </c:pt>
                <c:pt idx="1257">
                  <c:v>43115</c:v>
                </c:pt>
                <c:pt idx="1258">
                  <c:v>43116</c:v>
                </c:pt>
                <c:pt idx="1259">
                  <c:v>43117</c:v>
                </c:pt>
                <c:pt idx="1260">
                  <c:v>43118</c:v>
                </c:pt>
                <c:pt idx="1261">
                  <c:v>43119</c:v>
                </c:pt>
                <c:pt idx="1262">
                  <c:v>43122</c:v>
                </c:pt>
                <c:pt idx="1263">
                  <c:v>43123</c:v>
                </c:pt>
                <c:pt idx="1264">
                  <c:v>43124</c:v>
                </c:pt>
                <c:pt idx="1265">
                  <c:v>43125</c:v>
                </c:pt>
                <c:pt idx="1266">
                  <c:v>43126</c:v>
                </c:pt>
                <c:pt idx="1267">
                  <c:v>43129</c:v>
                </c:pt>
                <c:pt idx="1268">
                  <c:v>43130</c:v>
                </c:pt>
                <c:pt idx="1269">
                  <c:v>43131</c:v>
                </c:pt>
                <c:pt idx="1270">
                  <c:v>43132</c:v>
                </c:pt>
                <c:pt idx="1271">
                  <c:v>43133</c:v>
                </c:pt>
                <c:pt idx="1272">
                  <c:v>43136</c:v>
                </c:pt>
                <c:pt idx="1273">
                  <c:v>43137</c:v>
                </c:pt>
                <c:pt idx="1274">
                  <c:v>43138</c:v>
                </c:pt>
                <c:pt idx="1275">
                  <c:v>43139</c:v>
                </c:pt>
                <c:pt idx="1276">
                  <c:v>43140</c:v>
                </c:pt>
                <c:pt idx="1277">
                  <c:v>43143</c:v>
                </c:pt>
                <c:pt idx="1278">
                  <c:v>43144</c:v>
                </c:pt>
                <c:pt idx="1279">
                  <c:v>43145</c:v>
                </c:pt>
                <c:pt idx="1280">
                  <c:v>43146</c:v>
                </c:pt>
                <c:pt idx="1281">
                  <c:v>43147</c:v>
                </c:pt>
                <c:pt idx="1282">
                  <c:v>43150</c:v>
                </c:pt>
                <c:pt idx="1283">
                  <c:v>43151</c:v>
                </c:pt>
                <c:pt idx="1284">
                  <c:v>43152</c:v>
                </c:pt>
                <c:pt idx="1285">
                  <c:v>43153</c:v>
                </c:pt>
                <c:pt idx="1286">
                  <c:v>43154</c:v>
                </c:pt>
                <c:pt idx="1287">
                  <c:v>43157</c:v>
                </c:pt>
                <c:pt idx="1288">
                  <c:v>43158</c:v>
                </c:pt>
                <c:pt idx="1289">
                  <c:v>43159</c:v>
                </c:pt>
                <c:pt idx="1290">
                  <c:v>43160</c:v>
                </c:pt>
                <c:pt idx="1291">
                  <c:v>43161</c:v>
                </c:pt>
                <c:pt idx="1292">
                  <c:v>43164</c:v>
                </c:pt>
                <c:pt idx="1293">
                  <c:v>43165</c:v>
                </c:pt>
                <c:pt idx="1294">
                  <c:v>43166</c:v>
                </c:pt>
                <c:pt idx="1295">
                  <c:v>43167</c:v>
                </c:pt>
                <c:pt idx="1296">
                  <c:v>43168</c:v>
                </c:pt>
                <c:pt idx="1297">
                  <c:v>43171</c:v>
                </c:pt>
                <c:pt idx="1298">
                  <c:v>43172</c:v>
                </c:pt>
                <c:pt idx="1299">
                  <c:v>43173</c:v>
                </c:pt>
                <c:pt idx="1300">
                  <c:v>43174</c:v>
                </c:pt>
                <c:pt idx="1301">
                  <c:v>43175</c:v>
                </c:pt>
                <c:pt idx="1302">
                  <c:v>43178</c:v>
                </c:pt>
                <c:pt idx="1303">
                  <c:v>43179</c:v>
                </c:pt>
                <c:pt idx="1304">
                  <c:v>43180</c:v>
                </c:pt>
                <c:pt idx="1305">
                  <c:v>43181</c:v>
                </c:pt>
                <c:pt idx="1306">
                  <c:v>43182</c:v>
                </c:pt>
                <c:pt idx="1307">
                  <c:v>43185</c:v>
                </c:pt>
                <c:pt idx="1308">
                  <c:v>43186</c:v>
                </c:pt>
                <c:pt idx="1309">
                  <c:v>43187</c:v>
                </c:pt>
                <c:pt idx="1310">
                  <c:v>43188</c:v>
                </c:pt>
                <c:pt idx="1311">
                  <c:v>43189</c:v>
                </c:pt>
                <c:pt idx="1312">
                  <c:v>43192</c:v>
                </c:pt>
                <c:pt idx="1313">
                  <c:v>43193</c:v>
                </c:pt>
                <c:pt idx="1314">
                  <c:v>43194</c:v>
                </c:pt>
                <c:pt idx="1315">
                  <c:v>43195</c:v>
                </c:pt>
                <c:pt idx="1316">
                  <c:v>43196</c:v>
                </c:pt>
                <c:pt idx="1317">
                  <c:v>43199</c:v>
                </c:pt>
                <c:pt idx="1318">
                  <c:v>43200</c:v>
                </c:pt>
                <c:pt idx="1319">
                  <c:v>43201</c:v>
                </c:pt>
                <c:pt idx="1320">
                  <c:v>43202</c:v>
                </c:pt>
                <c:pt idx="1321">
                  <c:v>43203</c:v>
                </c:pt>
                <c:pt idx="1322">
                  <c:v>43206</c:v>
                </c:pt>
                <c:pt idx="1323">
                  <c:v>43207</c:v>
                </c:pt>
                <c:pt idx="1324">
                  <c:v>43208</c:v>
                </c:pt>
                <c:pt idx="1325">
                  <c:v>43209</c:v>
                </c:pt>
                <c:pt idx="1326">
                  <c:v>43210</c:v>
                </c:pt>
                <c:pt idx="1327">
                  <c:v>43213</c:v>
                </c:pt>
                <c:pt idx="1328">
                  <c:v>43214</c:v>
                </c:pt>
                <c:pt idx="1329">
                  <c:v>43215</c:v>
                </c:pt>
                <c:pt idx="1330">
                  <c:v>43216</c:v>
                </c:pt>
                <c:pt idx="1331">
                  <c:v>43217</c:v>
                </c:pt>
                <c:pt idx="1332">
                  <c:v>43220</c:v>
                </c:pt>
                <c:pt idx="1333">
                  <c:v>43221</c:v>
                </c:pt>
                <c:pt idx="1334">
                  <c:v>43222</c:v>
                </c:pt>
                <c:pt idx="1335">
                  <c:v>43223</c:v>
                </c:pt>
                <c:pt idx="1336">
                  <c:v>43224</c:v>
                </c:pt>
                <c:pt idx="1337">
                  <c:v>43227</c:v>
                </c:pt>
                <c:pt idx="1338">
                  <c:v>43228</c:v>
                </c:pt>
                <c:pt idx="1339">
                  <c:v>43229</c:v>
                </c:pt>
                <c:pt idx="1340">
                  <c:v>43230</c:v>
                </c:pt>
                <c:pt idx="1341">
                  <c:v>43231</c:v>
                </c:pt>
                <c:pt idx="1342">
                  <c:v>43234</c:v>
                </c:pt>
                <c:pt idx="1343">
                  <c:v>43235</c:v>
                </c:pt>
                <c:pt idx="1344">
                  <c:v>43236</c:v>
                </c:pt>
                <c:pt idx="1345">
                  <c:v>43237</c:v>
                </c:pt>
                <c:pt idx="1346">
                  <c:v>43238</c:v>
                </c:pt>
                <c:pt idx="1347">
                  <c:v>43241</c:v>
                </c:pt>
                <c:pt idx="1348">
                  <c:v>43242</c:v>
                </c:pt>
                <c:pt idx="1349">
                  <c:v>43243</c:v>
                </c:pt>
                <c:pt idx="1350">
                  <c:v>43244</c:v>
                </c:pt>
                <c:pt idx="1351">
                  <c:v>43245</c:v>
                </c:pt>
                <c:pt idx="1352">
                  <c:v>43248</c:v>
                </c:pt>
                <c:pt idx="1353">
                  <c:v>43249</c:v>
                </c:pt>
                <c:pt idx="1354">
                  <c:v>43250</c:v>
                </c:pt>
                <c:pt idx="1355">
                  <c:v>43251</c:v>
                </c:pt>
                <c:pt idx="1356">
                  <c:v>43252</c:v>
                </c:pt>
                <c:pt idx="1357">
                  <c:v>43255</c:v>
                </c:pt>
                <c:pt idx="1358">
                  <c:v>43256</c:v>
                </c:pt>
                <c:pt idx="1359">
                  <c:v>43257</c:v>
                </c:pt>
                <c:pt idx="1360">
                  <c:v>43258</c:v>
                </c:pt>
                <c:pt idx="1361">
                  <c:v>43259</c:v>
                </c:pt>
                <c:pt idx="1362">
                  <c:v>43262</c:v>
                </c:pt>
                <c:pt idx="1363">
                  <c:v>43263</c:v>
                </c:pt>
                <c:pt idx="1364">
                  <c:v>43264</c:v>
                </c:pt>
                <c:pt idx="1365">
                  <c:v>43265</c:v>
                </c:pt>
                <c:pt idx="1366">
                  <c:v>43266</c:v>
                </c:pt>
                <c:pt idx="1367">
                  <c:v>43269</c:v>
                </c:pt>
                <c:pt idx="1368">
                  <c:v>43270</c:v>
                </c:pt>
                <c:pt idx="1369">
                  <c:v>43271</c:v>
                </c:pt>
                <c:pt idx="1370">
                  <c:v>43272</c:v>
                </c:pt>
                <c:pt idx="1371">
                  <c:v>43273</c:v>
                </c:pt>
                <c:pt idx="1372">
                  <c:v>43276</c:v>
                </c:pt>
                <c:pt idx="1373">
                  <c:v>43277</c:v>
                </c:pt>
                <c:pt idx="1374">
                  <c:v>43278</c:v>
                </c:pt>
                <c:pt idx="1375">
                  <c:v>43279</c:v>
                </c:pt>
                <c:pt idx="1376">
                  <c:v>43280</c:v>
                </c:pt>
                <c:pt idx="1377">
                  <c:v>43283</c:v>
                </c:pt>
                <c:pt idx="1378">
                  <c:v>43284</c:v>
                </c:pt>
                <c:pt idx="1379">
                  <c:v>43285</c:v>
                </c:pt>
                <c:pt idx="1380">
                  <c:v>43286</c:v>
                </c:pt>
                <c:pt idx="1381">
                  <c:v>43287</c:v>
                </c:pt>
                <c:pt idx="1382">
                  <c:v>43290</c:v>
                </c:pt>
                <c:pt idx="1383">
                  <c:v>43291</c:v>
                </c:pt>
                <c:pt idx="1384">
                  <c:v>43292</c:v>
                </c:pt>
                <c:pt idx="1385">
                  <c:v>43293</c:v>
                </c:pt>
                <c:pt idx="1386">
                  <c:v>43294</c:v>
                </c:pt>
                <c:pt idx="1387">
                  <c:v>43297</c:v>
                </c:pt>
                <c:pt idx="1388">
                  <c:v>43298</c:v>
                </c:pt>
                <c:pt idx="1389">
                  <c:v>43299</c:v>
                </c:pt>
                <c:pt idx="1390">
                  <c:v>43300</c:v>
                </c:pt>
                <c:pt idx="1391">
                  <c:v>43301</c:v>
                </c:pt>
                <c:pt idx="1392">
                  <c:v>43304</c:v>
                </c:pt>
                <c:pt idx="1393">
                  <c:v>43305</c:v>
                </c:pt>
                <c:pt idx="1394">
                  <c:v>43306</c:v>
                </c:pt>
                <c:pt idx="1395">
                  <c:v>43307</c:v>
                </c:pt>
                <c:pt idx="1396">
                  <c:v>43308</c:v>
                </c:pt>
                <c:pt idx="1397">
                  <c:v>43311</c:v>
                </c:pt>
                <c:pt idx="1398">
                  <c:v>43312</c:v>
                </c:pt>
                <c:pt idx="1399">
                  <c:v>43313</c:v>
                </c:pt>
                <c:pt idx="1400">
                  <c:v>43314</c:v>
                </c:pt>
                <c:pt idx="1401">
                  <c:v>43315</c:v>
                </c:pt>
                <c:pt idx="1402">
                  <c:v>43318</c:v>
                </c:pt>
                <c:pt idx="1403">
                  <c:v>43319</c:v>
                </c:pt>
                <c:pt idx="1404">
                  <c:v>43320</c:v>
                </c:pt>
                <c:pt idx="1405">
                  <c:v>43321</c:v>
                </c:pt>
                <c:pt idx="1406">
                  <c:v>43322</c:v>
                </c:pt>
                <c:pt idx="1407">
                  <c:v>43325</c:v>
                </c:pt>
                <c:pt idx="1408">
                  <c:v>43326</c:v>
                </c:pt>
                <c:pt idx="1409">
                  <c:v>43327</c:v>
                </c:pt>
                <c:pt idx="1410">
                  <c:v>43328</c:v>
                </c:pt>
                <c:pt idx="1411">
                  <c:v>43329</c:v>
                </c:pt>
                <c:pt idx="1412">
                  <c:v>43332</c:v>
                </c:pt>
                <c:pt idx="1413">
                  <c:v>43333</c:v>
                </c:pt>
                <c:pt idx="1414">
                  <c:v>43334</c:v>
                </c:pt>
                <c:pt idx="1415">
                  <c:v>43335</c:v>
                </c:pt>
                <c:pt idx="1416">
                  <c:v>43336</c:v>
                </c:pt>
                <c:pt idx="1417">
                  <c:v>43339</c:v>
                </c:pt>
                <c:pt idx="1418">
                  <c:v>43340</c:v>
                </c:pt>
                <c:pt idx="1419">
                  <c:v>43341</c:v>
                </c:pt>
                <c:pt idx="1420">
                  <c:v>43342</c:v>
                </c:pt>
                <c:pt idx="1421">
                  <c:v>43343</c:v>
                </c:pt>
                <c:pt idx="1422">
                  <c:v>43346</c:v>
                </c:pt>
                <c:pt idx="1423">
                  <c:v>43347</c:v>
                </c:pt>
                <c:pt idx="1424">
                  <c:v>43348</c:v>
                </c:pt>
                <c:pt idx="1425">
                  <c:v>43349</c:v>
                </c:pt>
                <c:pt idx="1426">
                  <c:v>43350</c:v>
                </c:pt>
                <c:pt idx="1427">
                  <c:v>43353</c:v>
                </c:pt>
                <c:pt idx="1428">
                  <c:v>43354</c:v>
                </c:pt>
                <c:pt idx="1429">
                  <c:v>43355</c:v>
                </c:pt>
                <c:pt idx="1430">
                  <c:v>43356</c:v>
                </c:pt>
                <c:pt idx="1431">
                  <c:v>43357</c:v>
                </c:pt>
                <c:pt idx="1432">
                  <c:v>43360</c:v>
                </c:pt>
                <c:pt idx="1433">
                  <c:v>43361</c:v>
                </c:pt>
                <c:pt idx="1434">
                  <c:v>43362</c:v>
                </c:pt>
                <c:pt idx="1435">
                  <c:v>43363</c:v>
                </c:pt>
                <c:pt idx="1436">
                  <c:v>43364</c:v>
                </c:pt>
                <c:pt idx="1437">
                  <c:v>43367</c:v>
                </c:pt>
                <c:pt idx="1438">
                  <c:v>43368</c:v>
                </c:pt>
                <c:pt idx="1439">
                  <c:v>43369</c:v>
                </c:pt>
                <c:pt idx="1440">
                  <c:v>43370</c:v>
                </c:pt>
                <c:pt idx="1441">
                  <c:v>43371</c:v>
                </c:pt>
                <c:pt idx="1442">
                  <c:v>43374</c:v>
                </c:pt>
                <c:pt idx="1443">
                  <c:v>43375</c:v>
                </c:pt>
                <c:pt idx="1444">
                  <c:v>43376</c:v>
                </c:pt>
                <c:pt idx="1445">
                  <c:v>43377</c:v>
                </c:pt>
                <c:pt idx="1446">
                  <c:v>43378</c:v>
                </c:pt>
                <c:pt idx="1447">
                  <c:v>43381</c:v>
                </c:pt>
                <c:pt idx="1448">
                  <c:v>43382</c:v>
                </c:pt>
                <c:pt idx="1449">
                  <c:v>43383</c:v>
                </c:pt>
                <c:pt idx="1450">
                  <c:v>43384</c:v>
                </c:pt>
                <c:pt idx="1451">
                  <c:v>43385</c:v>
                </c:pt>
                <c:pt idx="1452">
                  <c:v>43388</c:v>
                </c:pt>
                <c:pt idx="1453">
                  <c:v>43389</c:v>
                </c:pt>
                <c:pt idx="1454">
                  <c:v>43390</c:v>
                </c:pt>
                <c:pt idx="1455">
                  <c:v>43391</c:v>
                </c:pt>
                <c:pt idx="1456">
                  <c:v>43392</c:v>
                </c:pt>
                <c:pt idx="1457">
                  <c:v>43395</c:v>
                </c:pt>
                <c:pt idx="1458">
                  <c:v>43396</c:v>
                </c:pt>
                <c:pt idx="1459">
                  <c:v>43397</c:v>
                </c:pt>
                <c:pt idx="1460">
                  <c:v>43398</c:v>
                </c:pt>
                <c:pt idx="1461">
                  <c:v>43399</c:v>
                </c:pt>
                <c:pt idx="1462">
                  <c:v>43402</c:v>
                </c:pt>
                <c:pt idx="1463">
                  <c:v>43403</c:v>
                </c:pt>
                <c:pt idx="1464">
                  <c:v>43404</c:v>
                </c:pt>
                <c:pt idx="1465">
                  <c:v>43405</c:v>
                </c:pt>
                <c:pt idx="1466">
                  <c:v>43406</c:v>
                </c:pt>
                <c:pt idx="1467">
                  <c:v>43409</c:v>
                </c:pt>
                <c:pt idx="1468">
                  <c:v>43410</c:v>
                </c:pt>
                <c:pt idx="1469">
                  <c:v>43411</c:v>
                </c:pt>
                <c:pt idx="1470">
                  <c:v>43412</c:v>
                </c:pt>
                <c:pt idx="1471">
                  <c:v>43413</c:v>
                </c:pt>
                <c:pt idx="1472">
                  <c:v>43416</c:v>
                </c:pt>
                <c:pt idx="1473">
                  <c:v>43417</c:v>
                </c:pt>
                <c:pt idx="1474">
                  <c:v>43418</c:v>
                </c:pt>
                <c:pt idx="1475">
                  <c:v>43419</c:v>
                </c:pt>
                <c:pt idx="1476">
                  <c:v>43420</c:v>
                </c:pt>
                <c:pt idx="1477">
                  <c:v>43423</c:v>
                </c:pt>
                <c:pt idx="1478">
                  <c:v>43424</c:v>
                </c:pt>
                <c:pt idx="1479">
                  <c:v>43425</c:v>
                </c:pt>
                <c:pt idx="1480">
                  <c:v>43426</c:v>
                </c:pt>
                <c:pt idx="1481">
                  <c:v>43427</c:v>
                </c:pt>
                <c:pt idx="1482">
                  <c:v>43430</c:v>
                </c:pt>
                <c:pt idx="1483">
                  <c:v>43431</c:v>
                </c:pt>
                <c:pt idx="1484">
                  <c:v>43432</c:v>
                </c:pt>
                <c:pt idx="1485">
                  <c:v>43433</c:v>
                </c:pt>
                <c:pt idx="1486">
                  <c:v>43434</c:v>
                </c:pt>
                <c:pt idx="1487">
                  <c:v>43437</c:v>
                </c:pt>
                <c:pt idx="1488">
                  <c:v>43438</c:v>
                </c:pt>
                <c:pt idx="1489">
                  <c:v>43439</c:v>
                </c:pt>
                <c:pt idx="1490">
                  <c:v>43440</c:v>
                </c:pt>
                <c:pt idx="1491">
                  <c:v>43441</c:v>
                </c:pt>
                <c:pt idx="1492">
                  <c:v>43444</c:v>
                </c:pt>
                <c:pt idx="1493">
                  <c:v>43445</c:v>
                </c:pt>
                <c:pt idx="1494">
                  <c:v>43446</c:v>
                </c:pt>
                <c:pt idx="1495">
                  <c:v>43447</c:v>
                </c:pt>
                <c:pt idx="1496">
                  <c:v>43448</c:v>
                </c:pt>
                <c:pt idx="1497">
                  <c:v>43451</c:v>
                </c:pt>
                <c:pt idx="1498">
                  <c:v>43452</c:v>
                </c:pt>
                <c:pt idx="1499">
                  <c:v>43453</c:v>
                </c:pt>
                <c:pt idx="1500">
                  <c:v>43454</c:v>
                </c:pt>
                <c:pt idx="1501">
                  <c:v>43455</c:v>
                </c:pt>
                <c:pt idx="1502">
                  <c:v>43458</c:v>
                </c:pt>
                <c:pt idx="1503">
                  <c:v>43459</c:v>
                </c:pt>
                <c:pt idx="1504">
                  <c:v>43460</c:v>
                </c:pt>
                <c:pt idx="1505">
                  <c:v>43461</c:v>
                </c:pt>
                <c:pt idx="1506">
                  <c:v>43462</c:v>
                </c:pt>
                <c:pt idx="1507">
                  <c:v>43465</c:v>
                </c:pt>
                <c:pt idx="1508">
                  <c:v>43466</c:v>
                </c:pt>
                <c:pt idx="1509">
                  <c:v>43467</c:v>
                </c:pt>
                <c:pt idx="1510">
                  <c:v>43468</c:v>
                </c:pt>
                <c:pt idx="1511">
                  <c:v>43469</c:v>
                </c:pt>
                <c:pt idx="1512">
                  <c:v>43472</c:v>
                </c:pt>
                <c:pt idx="1513">
                  <c:v>43473</c:v>
                </c:pt>
                <c:pt idx="1514">
                  <c:v>43474</c:v>
                </c:pt>
                <c:pt idx="1515">
                  <c:v>43475</c:v>
                </c:pt>
                <c:pt idx="1516">
                  <c:v>43476</c:v>
                </c:pt>
                <c:pt idx="1517">
                  <c:v>43479</c:v>
                </c:pt>
                <c:pt idx="1518">
                  <c:v>43480</c:v>
                </c:pt>
                <c:pt idx="1519">
                  <c:v>43481</c:v>
                </c:pt>
                <c:pt idx="1520">
                  <c:v>43482</c:v>
                </c:pt>
                <c:pt idx="1521">
                  <c:v>43483</c:v>
                </c:pt>
                <c:pt idx="1522">
                  <c:v>43486</c:v>
                </c:pt>
                <c:pt idx="1523">
                  <c:v>43487</c:v>
                </c:pt>
                <c:pt idx="1524">
                  <c:v>43488</c:v>
                </c:pt>
                <c:pt idx="1525">
                  <c:v>43489</c:v>
                </c:pt>
                <c:pt idx="1526">
                  <c:v>43490</c:v>
                </c:pt>
                <c:pt idx="1527">
                  <c:v>43493</c:v>
                </c:pt>
                <c:pt idx="1528">
                  <c:v>43494</c:v>
                </c:pt>
                <c:pt idx="1529">
                  <c:v>43495</c:v>
                </c:pt>
                <c:pt idx="1530">
                  <c:v>43496</c:v>
                </c:pt>
                <c:pt idx="1531">
                  <c:v>43497</c:v>
                </c:pt>
                <c:pt idx="1532">
                  <c:v>43500</c:v>
                </c:pt>
                <c:pt idx="1533">
                  <c:v>43501</c:v>
                </c:pt>
                <c:pt idx="1534">
                  <c:v>43502</c:v>
                </c:pt>
                <c:pt idx="1535">
                  <c:v>43503</c:v>
                </c:pt>
                <c:pt idx="1536">
                  <c:v>43504</c:v>
                </c:pt>
                <c:pt idx="1537">
                  <c:v>43507</c:v>
                </c:pt>
                <c:pt idx="1538">
                  <c:v>43508</c:v>
                </c:pt>
                <c:pt idx="1539">
                  <c:v>43509</c:v>
                </c:pt>
                <c:pt idx="1540">
                  <c:v>43510</c:v>
                </c:pt>
                <c:pt idx="1541">
                  <c:v>43511</c:v>
                </c:pt>
                <c:pt idx="1542">
                  <c:v>43514</c:v>
                </c:pt>
                <c:pt idx="1543">
                  <c:v>43515</c:v>
                </c:pt>
                <c:pt idx="1544">
                  <c:v>43516</c:v>
                </c:pt>
                <c:pt idx="1545">
                  <c:v>43517</c:v>
                </c:pt>
                <c:pt idx="1546">
                  <c:v>43518</c:v>
                </c:pt>
                <c:pt idx="1547">
                  <c:v>43521</c:v>
                </c:pt>
                <c:pt idx="1548">
                  <c:v>43522</c:v>
                </c:pt>
                <c:pt idx="1549">
                  <c:v>43523</c:v>
                </c:pt>
                <c:pt idx="1550">
                  <c:v>43524</c:v>
                </c:pt>
                <c:pt idx="1551">
                  <c:v>43525</c:v>
                </c:pt>
                <c:pt idx="1552">
                  <c:v>43528</c:v>
                </c:pt>
                <c:pt idx="1553">
                  <c:v>43529</c:v>
                </c:pt>
                <c:pt idx="1554">
                  <c:v>43530</c:v>
                </c:pt>
                <c:pt idx="1555">
                  <c:v>43531</c:v>
                </c:pt>
                <c:pt idx="1556">
                  <c:v>43532</c:v>
                </c:pt>
                <c:pt idx="1557">
                  <c:v>43535</c:v>
                </c:pt>
                <c:pt idx="1558">
                  <c:v>43536</c:v>
                </c:pt>
                <c:pt idx="1559">
                  <c:v>43537</c:v>
                </c:pt>
                <c:pt idx="1560">
                  <c:v>43538</c:v>
                </c:pt>
                <c:pt idx="1561">
                  <c:v>43539</c:v>
                </c:pt>
                <c:pt idx="1562">
                  <c:v>43542</c:v>
                </c:pt>
                <c:pt idx="1563">
                  <c:v>43543</c:v>
                </c:pt>
                <c:pt idx="1564">
                  <c:v>43544</c:v>
                </c:pt>
                <c:pt idx="1565">
                  <c:v>43545</c:v>
                </c:pt>
                <c:pt idx="1566">
                  <c:v>43546</c:v>
                </c:pt>
                <c:pt idx="1567">
                  <c:v>43549</c:v>
                </c:pt>
                <c:pt idx="1568">
                  <c:v>43550</c:v>
                </c:pt>
                <c:pt idx="1569">
                  <c:v>43551</c:v>
                </c:pt>
                <c:pt idx="1570">
                  <c:v>43552</c:v>
                </c:pt>
                <c:pt idx="1571">
                  <c:v>43553</c:v>
                </c:pt>
                <c:pt idx="1572">
                  <c:v>43556</c:v>
                </c:pt>
                <c:pt idx="1573">
                  <c:v>43557</c:v>
                </c:pt>
                <c:pt idx="1574">
                  <c:v>43558</c:v>
                </c:pt>
                <c:pt idx="1575">
                  <c:v>43559</c:v>
                </c:pt>
                <c:pt idx="1576">
                  <c:v>43560</c:v>
                </c:pt>
                <c:pt idx="1577">
                  <c:v>43563</c:v>
                </c:pt>
                <c:pt idx="1578">
                  <c:v>43564</c:v>
                </c:pt>
                <c:pt idx="1579">
                  <c:v>43565</c:v>
                </c:pt>
                <c:pt idx="1580">
                  <c:v>43566</c:v>
                </c:pt>
                <c:pt idx="1581">
                  <c:v>43567</c:v>
                </c:pt>
                <c:pt idx="1582">
                  <c:v>43570</c:v>
                </c:pt>
                <c:pt idx="1583">
                  <c:v>43571</c:v>
                </c:pt>
                <c:pt idx="1584">
                  <c:v>43572</c:v>
                </c:pt>
                <c:pt idx="1585">
                  <c:v>43573</c:v>
                </c:pt>
                <c:pt idx="1586">
                  <c:v>43574</c:v>
                </c:pt>
                <c:pt idx="1587">
                  <c:v>43577</c:v>
                </c:pt>
                <c:pt idx="1588">
                  <c:v>43578</c:v>
                </c:pt>
                <c:pt idx="1589">
                  <c:v>43579</c:v>
                </c:pt>
                <c:pt idx="1590">
                  <c:v>43580</c:v>
                </c:pt>
                <c:pt idx="1591">
                  <c:v>43581</c:v>
                </c:pt>
                <c:pt idx="1592">
                  <c:v>43584</c:v>
                </c:pt>
                <c:pt idx="1593">
                  <c:v>43585</c:v>
                </c:pt>
                <c:pt idx="1594">
                  <c:v>43586</c:v>
                </c:pt>
                <c:pt idx="1595">
                  <c:v>43587</c:v>
                </c:pt>
                <c:pt idx="1596">
                  <c:v>43588</c:v>
                </c:pt>
                <c:pt idx="1597">
                  <c:v>43591</c:v>
                </c:pt>
                <c:pt idx="1598">
                  <c:v>43592</c:v>
                </c:pt>
                <c:pt idx="1599">
                  <c:v>43593</c:v>
                </c:pt>
                <c:pt idx="1600">
                  <c:v>43594</c:v>
                </c:pt>
                <c:pt idx="1601">
                  <c:v>43595</c:v>
                </c:pt>
                <c:pt idx="1602">
                  <c:v>43598</c:v>
                </c:pt>
                <c:pt idx="1603">
                  <c:v>43599</c:v>
                </c:pt>
                <c:pt idx="1604">
                  <c:v>43600</c:v>
                </c:pt>
                <c:pt idx="1605">
                  <c:v>43601</c:v>
                </c:pt>
                <c:pt idx="1606">
                  <c:v>43602</c:v>
                </c:pt>
                <c:pt idx="1607">
                  <c:v>43605</c:v>
                </c:pt>
                <c:pt idx="1608">
                  <c:v>43606</c:v>
                </c:pt>
                <c:pt idx="1609">
                  <c:v>43607</c:v>
                </c:pt>
                <c:pt idx="1610">
                  <c:v>43608</c:v>
                </c:pt>
                <c:pt idx="1611">
                  <c:v>43609</c:v>
                </c:pt>
                <c:pt idx="1612">
                  <c:v>43612</c:v>
                </c:pt>
                <c:pt idx="1613">
                  <c:v>43613</c:v>
                </c:pt>
                <c:pt idx="1614">
                  <c:v>43614</c:v>
                </c:pt>
                <c:pt idx="1615">
                  <c:v>43615</c:v>
                </c:pt>
                <c:pt idx="1616">
                  <c:v>43616</c:v>
                </c:pt>
                <c:pt idx="1617">
                  <c:v>43619</c:v>
                </c:pt>
                <c:pt idx="1618">
                  <c:v>43620</c:v>
                </c:pt>
                <c:pt idx="1619">
                  <c:v>43621</c:v>
                </c:pt>
                <c:pt idx="1620">
                  <c:v>43622</c:v>
                </c:pt>
                <c:pt idx="1621">
                  <c:v>43623</c:v>
                </c:pt>
                <c:pt idx="1622">
                  <c:v>43626</c:v>
                </c:pt>
                <c:pt idx="1623">
                  <c:v>43627</c:v>
                </c:pt>
                <c:pt idx="1624">
                  <c:v>43628</c:v>
                </c:pt>
                <c:pt idx="1625">
                  <c:v>43629</c:v>
                </c:pt>
                <c:pt idx="1626">
                  <c:v>43630</c:v>
                </c:pt>
                <c:pt idx="1627">
                  <c:v>43633</c:v>
                </c:pt>
                <c:pt idx="1628">
                  <c:v>43634</c:v>
                </c:pt>
                <c:pt idx="1629">
                  <c:v>43635</c:v>
                </c:pt>
                <c:pt idx="1630">
                  <c:v>43636</c:v>
                </c:pt>
                <c:pt idx="1631">
                  <c:v>43637</c:v>
                </c:pt>
                <c:pt idx="1632">
                  <c:v>43640</c:v>
                </c:pt>
                <c:pt idx="1633">
                  <c:v>43641</c:v>
                </c:pt>
                <c:pt idx="1634">
                  <c:v>43642</c:v>
                </c:pt>
                <c:pt idx="1635">
                  <c:v>43643</c:v>
                </c:pt>
                <c:pt idx="1636">
                  <c:v>43644</c:v>
                </c:pt>
                <c:pt idx="1637">
                  <c:v>43647</c:v>
                </c:pt>
                <c:pt idx="1638">
                  <c:v>43648</c:v>
                </c:pt>
                <c:pt idx="1639">
                  <c:v>43649</c:v>
                </c:pt>
                <c:pt idx="1640">
                  <c:v>43650</c:v>
                </c:pt>
                <c:pt idx="1641">
                  <c:v>43651</c:v>
                </c:pt>
                <c:pt idx="1642">
                  <c:v>43654</c:v>
                </c:pt>
                <c:pt idx="1643">
                  <c:v>43655</c:v>
                </c:pt>
                <c:pt idx="1644">
                  <c:v>43656</c:v>
                </c:pt>
                <c:pt idx="1645">
                  <c:v>43657</c:v>
                </c:pt>
                <c:pt idx="1646">
                  <c:v>43658</c:v>
                </c:pt>
                <c:pt idx="1647">
                  <c:v>43661</c:v>
                </c:pt>
                <c:pt idx="1648">
                  <c:v>43662</c:v>
                </c:pt>
                <c:pt idx="1649">
                  <c:v>43663</c:v>
                </c:pt>
                <c:pt idx="1650">
                  <c:v>43664</c:v>
                </c:pt>
                <c:pt idx="1651">
                  <c:v>43665</c:v>
                </c:pt>
                <c:pt idx="1652">
                  <c:v>43668</c:v>
                </c:pt>
                <c:pt idx="1653">
                  <c:v>43669</c:v>
                </c:pt>
                <c:pt idx="1654">
                  <c:v>43670</c:v>
                </c:pt>
                <c:pt idx="1655">
                  <c:v>43671</c:v>
                </c:pt>
                <c:pt idx="1656">
                  <c:v>43672</c:v>
                </c:pt>
                <c:pt idx="1657">
                  <c:v>43675</c:v>
                </c:pt>
                <c:pt idx="1658">
                  <c:v>43676</c:v>
                </c:pt>
                <c:pt idx="1659">
                  <c:v>43677</c:v>
                </c:pt>
                <c:pt idx="1660">
                  <c:v>43678</c:v>
                </c:pt>
                <c:pt idx="1661">
                  <c:v>43679</c:v>
                </c:pt>
                <c:pt idx="1662">
                  <c:v>43682</c:v>
                </c:pt>
                <c:pt idx="1663">
                  <c:v>43683</c:v>
                </c:pt>
                <c:pt idx="1664">
                  <c:v>43684</c:v>
                </c:pt>
                <c:pt idx="1665">
                  <c:v>43685</c:v>
                </c:pt>
                <c:pt idx="1666">
                  <c:v>43686</c:v>
                </c:pt>
                <c:pt idx="1667">
                  <c:v>43689</c:v>
                </c:pt>
                <c:pt idx="1668">
                  <c:v>43690</c:v>
                </c:pt>
                <c:pt idx="1669">
                  <c:v>43691</c:v>
                </c:pt>
                <c:pt idx="1670">
                  <c:v>43692</c:v>
                </c:pt>
                <c:pt idx="1671">
                  <c:v>43693</c:v>
                </c:pt>
                <c:pt idx="1672">
                  <c:v>43696</c:v>
                </c:pt>
                <c:pt idx="1673">
                  <c:v>43697</c:v>
                </c:pt>
                <c:pt idx="1674">
                  <c:v>43698</c:v>
                </c:pt>
                <c:pt idx="1675">
                  <c:v>43699</c:v>
                </c:pt>
                <c:pt idx="1676">
                  <c:v>43700</c:v>
                </c:pt>
                <c:pt idx="1677">
                  <c:v>43703</c:v>
                </c:pt>
                <c:pt idx="1678">
                  <c:v>43704</c:v>
                </c:pt>
                <c:pt idx="1679">
                  <c:v>43705</c:v>
                </c:pt>
                <c:pt idx="1680">
                  <c:v>43706</c:v>
                </c:pt>
                <c:pt idx="1681">
                  <c:v>43707</c:v>
                </c:pt>
                <c:pt idx="1682">
                  <c:v>43710</c:v>
                </c:pt>
                <c:pt idx="1683">
                  <c:v>43711</c:v>
                </c:pt>
                <c:pt idx="1684">
                  <c:v>43712</c:v>
                </c:pt>
                <c:pt idx="1685">
                  <c:v>43713</c:v>
                </c:pt>
                <c:pt idx="1686">
                  <c:v>43714</c:v>
                </c:pt>
                <c:pt idx="1687">
                  <c:v>43717</c:v>
                </c:pt>
                <c:pt idx="1688">
                  <c:v>43718</c:v>
                </c:pt>
                <c:pt idx="1689">
                  <c:v>43719</c:v>
                </c:pt>
                <c:pt idx="1690">
                  <c:v>43720</c:v>
                </c:pt>
                <c:pt idx="1691">
                  <c:v>43721</c:v>
                </c:pt>
                <c:pt idx="1692">
                  <c:v>43724</c:v>
                </c:pt>
                <c:pt idx="1693">
                  <c:v>43725</c:v>
                </c:pt>
                <c:pt idx="1694">
                  <c:v>43726</c:v>
                </c:pt>
                <c:pt idx="1695">
                  <c:v>43727</c:v>
                </c:pt>
                <c:pt idx="1696">
                  <c:v>43728</c:v>
                </c:pt>
                <c:pt idx="1697">
                  <c:v>43731</c:v>
                </c:pt>
                <c:pt idx="1698">
                  <c:v>43732</c:v>
                </c:pt>
                <c:pt idx="1699">
                  <c:v>43733</c:v>
                </c:pt>
                <c:pt idx="1700">
                  <c:v>43734</c:v>
                </c:pt>
                <c:pt idx="1701">
                  <c:v>43735</c:v>
                </c:pt>
                <c:pt idx="1702">
                  <c:v>43738</c:v>
                </c:pt>
                <c:pt idx="1703">
                  <c:v>43739</c:v>
                </c:pt>
                <c:pt idx="1704">
                  <c:v>43740</c:v>
                </c:pt>
                <c:pt idx="1705">
                  <c:v>43741</c:v>
                </c:pt>
                <c:pt idx="1706">
                  <c:v>43742</c:v>
                </c:pt>
                <c:pt idx="1707">
                  <c:v>43745</c:v>
                </c:pt>
                <c:pt idx="1708">
                  <c:v>43746</c:v>
                </c:pt>
                <c:pt idx="1709">
                  <c:v>43747</c:v>
                </c:pt>
                <c:pt idx="1710">
                  <c:v>43748</c:v>
                </c:pt>
                <c:pt idx="1711">
                  <c:v>43749</c:v>
                </c:pt>
                <c:pt idx="1712">
                  <c:v>43752</c:v>
                </c:pt>
                <c:pt idx="1713">
                  <c:v>43753</c:v>
                </c:pt>
                <c:pt idx="1714">
                  <c:v>43754</c:v>
                </c:pt>
                <c:pt idx="1715">
                  <c:v>43755</c:v>
                </c:pt>
                <c:pt idx="1716">
                  <c:v>43756</c:v>
                </c:pt>
                <c:pt idx="1717">
                  <c:v>43759</c:v>
                </c:pt>
                <c:pt idx="1718">
                  <c:v>43760</c:v>
                </c:pt>
                <c:pt idx="1719">
                  <c:v>43761</c:v>
                </c:pt>
                <c:pt idx="1720">
                  <c:v>43762</c:v>
                </c:pt>
                <c:pt idx="1721">
                  <c:v>43763</c:v>
                </c:pt>
                <c:pt idx="1722">
                  <c:v>43766</c:v>
                </c:pt>
                <c:pt idx="1723">
                  <c:v>43767</c:v>
                </c:pt>
                <c:pt idx="1724">
                  <c:v>43768</c:v>
                </c:pt>
                <c:pt idx="1725">
                  <c:v>43769</c:v>
                </c:pt>
                <c:pt idx="1726">
                  <c:v>43770</c:v>
                </c:pt>
                <c:pt idx="1727">
                  <c:v>43773</c:v>
                </c:pt>
                <c:pt idx="1728">
                  <c:v>43774</c:v>
                </c:pt>
                <c:pt idx="1729">
                  <c:v>43775</c:v>
                </c:pt>
                <c:pt idx="1730">
                  <c:v>43776</c:v>
                </c:pt>
                <c:pt idx="1731">
                  <c:v>43777</c:v>
                </c:pt>
                <c:pt idx="1732">
                  <c:v>43780</c:v>
                </c:pt>
                <c:pt idx="1733">
                  <c:v>43781</c:v>
                </c:pt>
                <c:pt idx="1734">
                  <c:v>43782</c:v>
                </c:pt>
                <c:pt idx="1735">
                  <c:v>43783</c:v>
                </c:pt>
                <c:pt idx="1736">
                  <c:v>43784</c:v>
                </c:pt>
                <c:pt idx="1737">
                  <c:v>43787</c:v>
                </c:pt>
                <c:pt idx="1738">
                  <c:v>43788</c:v>
                </c:pt>
                <c:pt idx="1739">
                  <c:v>43789</c:v>
                </c:pt>
                <c:pt idx="1740">
                  <c:v>43790</c:v>
                </c:pt>
                <c:pt idx="1741">
                  <c:v>43791</c:v>
                </c:pt>
                <c:pt idx="1742">
                  <c:v>43794</c:v>
                </c:pt>
                <c:pt idx="1743">
                  <c:v>43795</c:v>
                </c:pt>
                <c:pt idx="1744">
                  <c:v>43796</c:v>
                </c:pt>
                <c:pt idx="1745">
                  <c:v>43797</c:v>
                </c:pt>
                <c:pt idx="1746">
                  <c:v>43798</c:v>
                </c:pt>
                <c:pt idx="1747">
                  <c:v>43801</c:v>
                </c:pt>
                <c:pt idx="1748">
                  <c:v>43802</c:v>
                </c:pt>
                <c:pt idx="1749">
                  <c:v>43803</c:v>
                </c:pt>
                <c:pt idx="1750">
                  <c:v>43804</c:v>
                </c:pt>
                <c:pt idx="1751">
                  <c:v>43805</c:v>
                </c:pt>
                <c:pt idx="1752">
                  <c:v>43808</c:v>
                </c:pt>
                <c:pt idx="1753">
                  <c:v>43809</c:v>
                </c:pt>
                <c:pt idx="1754">
                  <c:v>43810</c:v>
                </c:pt>
                <c:pt idx="1755">
                  <c:v>43811</c:v>
                </c:pt>
                <c:pt idx="1756">
                  <c:v>43812</c:v>
                </c:pt>
                <c:pt idx="1757">
                  <c:v>43815</c:v>
                </c:pt>
                <c:pt idx="1758">
                  <c:v>43816</c:v>
                </c:pt>
                <c:pt idx="1759">
                  <c:v>43817</c:v>
                </c:pt>
                <c:pt idx="1760">
                  <c:v>43818</c:v>
                </c:pt>
                <c:pt idx="1761">
                  <c:v>43819</c:v>
                </c:pt>
                <c:pt idx="1762">
                  <c:v>43822</c:v>
                </c:pt>
                <c:pt idx="1763">
                  <c:v>43823</c:v>
                </c:pt>
                <c:pt idx="1764">
                  <c:v>43824</c:v>
                </c:pt>
                <c:pt idx="1765">
                  <c:v>43825</c:v>
                </c:pt>
                <c:pt idx="1766">
                  <c:v>43826</c:v>
                </c:pt>
                <c:pt idx="1767">
                  <c:v>43829</c:v>
                </c:pt>
                <c:pt idx="1768">
                  <c:v>43830</c:v>
                </c:pt>
                <c:pt idx="1769">
                  <c:v>43831</c:v>
                </c:pt>
                <c:pt idx="1770">
                  <c:v>43832</c:v>
                </c:pt>
                <c:pt idx="1771">
                  <c:v>43833</c:v>
                </c:pt>
                <c:pt idx="1772">
                  <c:v>43836</c:v>
                </c:pt>
                <c:pt idx="1773">
                  <c:v>43837</c:v>
                </c:pt>
                <c:pt idx="1774">
                  <c:v>43838</c:v>
                </c:pt>
                <c:pt idx="1775">
                  <c:v>43839</c:v>
                </c:pt>
                <c:pt idx="1776">
                  <c:v>43840</c:v>
                </c:pt>
                <c:pt idx="1777">
                  <c:v>43843</c:v>
                </c:pt>
                <c:pt idx="1778">
                  <c:v>43844</c:v>
                </c:pt>
                <c:pt idx="1779">
                  <c:v>43845</c:v>
                </c:pt>
                <c:pt idx="1780">
                  <c:v>43846</c:v>
                </c:pt>
                <c:pt idx="1781">
                  <c:v>43847</c:v>
                </c:pt>
                <c:pt idx="1782">
                  <c:v>43850</c:v>
                </c:pt>
                <c:pt idx="1783">
                  <c:v>43851</c:v>
                </c:pt>
                <c:pt idx="1784">
                  <c:v>43852</c:v>
                </c:pt>
                <c:pt idx="1785">
                  <c:v>43853</c:v>
                </c:pt>
                <c:pt idx="1786">
                  <c:v>43854</c:v>
                </c:pt>
                <c:pt idx="1787">
                  <c:v>43857</c:v>
                </c:pt>
                <c:pt idx="1788">
                  <c:v>43858</c:v>
                </c:pt>
                <c:pt idx="1789">
                  <c:v>43859</c:v>
                </c:pt>
                <c:pt idx="1790">
                  <c:v>43860</c:v>
                </c:pt>
                <c:pt idx="1791">
                  <c:v>43861</c:v>
                </c:pt>
                <c:pt idx="1792">
                  <c:v>43864</c:v>
                </c:pt>
                <c:pt idx="1793">
                  <c:v>43865</c:v>
                </c:pt>
                <c:pt idx="1794">
                  <c:v>43866</c:v>
                </c:pt>
                <c:pt idx="1795">
                  <c:v>43867</c:v>
                </c:pt>
                <c:pt idx="1796">
                  <c:v>43868</c:v>
                </c:pt>
                <c:pt idx="1797">
                  <c:v>43871</c:v>
                </c:pt>
                <c:pt idx="1798">
                  <c:v>43872</c:v>
                </c:pt>
                <c:pt idx="1799">
                  <c:v>43873</c:v>
                </c:pt>
                <c:pt idx="1800">
                  <c:v>43874</c:v>
                </c:pt>
                <c:pt idx="1801">
                  <c:v>43875</c:v>
                </c:pt>
                <c:pt idx="1802">
                  <c:v>43878</c:v>
                </c:pt>
                <c:pt idx="1803">
                  <c:v>43879</c:v>
                </c:pt>
                <c:pt idx="1804">
                  <c:v>43880</c:v>
                </c:pt>
                <c:pt idx="1805">
                  <c:v>43881</c:v>
                </c:pt>
                <c:pt idx="1806">
                  <c:v>43882</c:v>
                </c:pt>
                <c:pt idx="1807">
                  <c:v>43885</c:v>
                </c:pt>
                <c:pt idx="1808">
                  <c:v>43886</c:v>
                </c:pt>
                <c:pt idx="1809">
                  <c:v>43887</c:v>
                </c:pt>
                <c:pt idx="1810">
                  <c:v>43888</c:v>
                </c:pt>
                <c:pt idx="1811">
                  <c:v>43889</c:v>
                </c:pt>
                <c:pt idx="1812">
                  <c:v>43892</c:v>
                </c:pt>
                <c:pt idx="1813">
                  <c:v>43893</c:v>
                </c:pt>
                <c:pt idx="1814">
                  <c:v>43894</c:v>
                </c:pt>
                <c:pt idx="1815">
                  <c:v>43895</c:v>
                </c:pt>
                <c:pt idx="1816">
                  <c:v>43896</c:v>
                </c:pt>
                <c:pt idx="1817">
                  <c:v>43899</c:v>
                </c:pt>
                <c:pt idx="1818">
                  <c:v>43900</c:v>
                </c:pt>
                <c:pt idx="1819">
                  <c:v>43901</c:v>
                </c:pt>
                <c:pt idx="1820">
                  <c:v>43902</c:v>
                </c:pt>
                <c:pt idx="1821">
                  <c:v>43903</c:v>
                </c:pt>
                <c:pt idx="1822">
                  <c:v>43906</c:v>
                </c:pt>
                <c:pt idx="1823">
                  <c:v>43907</c:v>
                </c:pt>
                <c:pt idx="1824">
                  <c:v>43908</c:v>
                </c:pt>
                <c:pt idx="1825">
                  <c:v>43909</c:v>
                </c:pt>
                <c:pt idx="1826">
                  <c:v>43910</c:v>
                </c:pt>
                <c:pt idx="1827">
                  <c:v>43913</c:v>
                </c:pt>
                <c:pt idx="1828">
                  <c:v>43914</c:v>
                </c:pt>
                <c:pt idx="1829">
                  <c:v>43915</c:v>
                </c:pt>
                <c:pt idx="1830">
                  <c:v>43916</c:v>
                </c:pt>
                <c:pt idx="1831">
                  <c:v>43917</c:v>
                </c:pt>
                <c:pt idx="1832">
                  <c:v>43920</c:v>
                </c:pt>
                <c:pt idx="1833">
                  <c:v>43921</c:v>
                </c:pt>
                <c:pt idx="1834">
                  <c:v>43922</c:v>
                </c:pt>
                <c:pt idx="1835">
                  <c:v>43923</c:v>
                </c:pt>
                <c:pt idx="1836">
                  <c:v>43924</c:v>
                </c:pt>
                <c:pt idx="1837">
                  <c:v>43927</c:v>
                </c:pt>
                <c:pt idx="1838">
                  <c:v>43928</c:v>
                </c:pt>
                <c:pt idx="1839">
                  <c:v>43929</c:v>
                </c:pt>
                <c:pt idx="1840">
                  <c:v>43930</c:v>
                </c:pt>
                <c:pt idx="1841">
                  <c:v>43931</c:v>
                </c:pt>
                <c:pt idx="1842">
                  <c:v>43934</c:v>
                </c:pt>
                <c:pt idx="1843">
                  <c:v>43942</c:v>
                </c:pt>
                <c:pt idx="1844">
                  <c:v>43943</c:v>
                </c:pt>
                <c:pt idx="1845">
                  <c:v>43944</c:v>
                </c:pt>
                <c:pt idx="1846">
                  <c:v>43945</c:v>
                </c:pt>
                <c:pt idx="1847">
                  <c:v>43948</c:v>
                </c:pt>
                <c:pt idx="1848">
                  <c:v>43949</c:v>
                </c:pt>
                <c:pt idx="1849">
                  <c:v>43950</c:v>
                </c:pt>
                <c:pt idx="1850">
                  <c:v>43951</c:v>
                </c:pt>
                <c:pt idx="1851">
                  <c:v>43952</c:v>
                </c:pt>
                <c:pt idx="1852">
                  <c:v>43955</c:v>
                </c:pt>
                <c:pt idx="1853">
                  <c:v>43956</c:v>
                </c:pt>
                <c:pt idx="1854">
                  <c:v>43957</c:v>
                </c:pt>
                <c:pt idx="1855">
                  <c:v>43958</c:v>
                </c:pt>
                <c:pt idx="1856">
                  <c:v>43959</c:v>
                </c:pt>
                <c:pt idx="1857">
                  <c:v>43962</c:v>
                </c:pt>
                <c:pt idx="1858">
                  <c:v>43963</c:v>
                </c:pt>
                <c:pt idx="1859">
                  <c:v>43964</c:v>
                </c:pt>
                <c:pt idx="1860">
                  <c:v>43965</c:v>
                </c:pt>
                <c:pt idx="1861">
                  <c:v>43966</c:v>
                </c:pt>
                <c:pt idx="1862">
                  <c:v>43969</c:v>
                </c:pt>
                <c:pt idx="1863">
                  <c:v>43970</c:v>
                </c:pt>
                <c:pt idx="1864">
                  <c:v>43971</c:v>
                </c:pt>
                <c:pt idx="1865">
                  <c:v>43972</c:v>
                </c:pt>
                <c:pt idx="1866">
                  <c:v>43973</c:v>
                </c:pt>
                <c:pt idx="1867">
                  <c:v>43976</c:v>
                </c:pt>
                <c:pt idx="1868">
                  <c:v>43977</c:v>
                </c:pt>
                <c:pt idx="1869">
                  <c:v>43978</c:v>
                </c:pt>
                <c:pt idx="1870">
                  <c:v>43979</c:v>
                </c:pt>
                <c:pt idx="1871">
                  <c:v>43986</c:v>
                </c:pt>
                <c:pt idx="1872">
                  <c:v>43987</c:v>
                </c:pt>
                <c:pt idx="1873">
                  <c:v>43990</c:v>
                </c:pt>
                <c:pt idx="1874">
                  <c:v>43991</c:v>
                </c:pt>
                <c:pt idx="1875">
                  <c:v>43992</c:v>
                </c:pt>
                <c:pt idx="1876">
                  <c:v>43993</c:v>
                </c:pt>
                <c:pt idx="1877">
                  <c:v>43994</c:v>
                </c:pt>
                <c:pt idx="1878">
                  <c:v>43997</c:v>
                </c:pt>
                <c:pt idx="1879">
                  <c:v>43998</c:v>
                </c:pt>
                <c:pt idx="1880">
                  <c:v>43999</c:v>
                </c:pt>
                <c:pt idx="1881">
                  <c:v>44000</c:v>
                </c:pt>
                <c:pt idx="1882">
                  <c:v>44001</c:v>
                </c:pt>
                <c:pt idx="1883">
                  <c:v>44004</c:v>
                </c:pt>
                <c:pt idx="1884">
                  <c:v>44005</c:v>
                </c:pt>
                <c:pt idx="1885">
                  <c:v>44006</c:v>
                </c:pt>
                <c:pt idx="1886">
                  <c:v>44007</c:v>
                </c:pt>
                <c:pt idx="1887">
                  <c:v>44008</c:v>
                </c:pt>
                <c:pt idx="1888">
                  <c:v>44011</c:v>
                </c:pt>
                <c:pt idx="1889">
                  <c:v>44012</c:v>
                </c:pt>
                <c:pt idx="1890">
                  <c:v>44013</c:v>
                </c:pt>
                <c:pt idx="1891">
                  <c:v>44014</c:v>
                </c:pt>
                <c:pt idx="1892">
                  <c:v>44015</c:v>
                </c:pt>
                <c:pt idx="1893">
                  <c:v>44018</c:v>
                </c:pt>
                <c:pt idx="1894">
                  <c:v>44019</c:v>
                </c:pt>
                <c:pt idx="1895">
                  <c:v>44020</c:v>
                </c:pt>
                <c:pt idx="1896">
                  <c:v>44021</c:v>
                </c:pt>
                <c:pt idx="1897">
                  <c:v>44022</c:v>
                </c:pt>
                <c:pt idx="1898">
                  <c:v>44025</c:v>
                </c:pt>
                <c:pt idx="1899">
                  <c:v>44026</c:v>
                </c:pt>
                <c:pt idx="1900">
                  <c:v>44027</c:v>
                </c:pt>
                <c:pt idx="1901">
                  <c:v>44028</c:v>
                </c:pt>
                <c:pt idx="1902">
                  <c:v>44029</c:v>
                </c:pt>
                <c:pt idx="1903">
                  <c:v>44032</c:v>
                </c:pt>
                <c:pt idx="1904">
                  <c:v>44033</c:v>
                </c:pt>
                <c:pt idx="1905">
                  <c:v>44034</c:v>
                </c:pt>
                <c:pt idx="1906">
                  <c:v>44035</c:v>
                </c:pt>
                <c:pt idx="1907">
                  <c:v>44036</c:v>
                </c:pt>
                <c:pt idx="1908">
                  <c:v>44039</c:v>
                </c:pt>
                <c:pt idx="1909">
                  <c:v>44040</c:v>
                </c:pt>
                <c:pt idx="1910">
                  <c:v>44041</c:v>
                </c:pt>
                <c:pt idx="1911">
                  <c:v>44042</c:v>
                </c:pt>
                <c:pt idx="1912">
                  <c:v>44043</c:v>
                </c:pt>
                <c:pt idx="1913">
                  <c:v>44046</c:v>
                </c:pt>
                <c:pt idx="1914">
                  <c:v>44047</c:v>
                </c:pt>
                <c:pt idx="1915">
                  <c:v>44048</c:v>
                </c:pt>
                <c:pt idx="1916">
                  <c:v>44049</c:v>
                </c:pt>
                <c:pt idx="1917">
                  <c:v>44050</c:v>
                </c:pt>
                <c:pt idx="1918">
                  <c:v>44053</c:v>
                </c:pt>
                <c:pt idx="1919">
                  <c:v>44054</c:v>
                </c:pt>
                <c:pt idx="1920">
                  <c:v>44055</c:v>
                </c:pt>
                <c:pt idx="1921">
                  <c:v>44056</c:v>
                </c:pt>
                <c:pt idx="1922">
                  <c:v>44057</c:v>
                </c:pt>
                <c:pt idx="1923">
                  <c:v>44060</c:v>
                </c:pt>
                <c:pt idx="1924">
                  <c:v>44061</c:v>
                </c:pt>
                <c:pt idx="1925">
                  <c:v>44062</c:v>
                </c:pt>
                <c:pt idx="1926">
                  <c:v>44063</c:v>
                </c:pt>
                <c:pt idx="1927">
                  <c:v>44064</c:v>
                </c:pt>
                <c:pt idx="1928">
                  <c:v>44067</c:v>
                </c:pt>
                <c:pt idx="1929">
                  <c:v>44068</c:v>
                </c:pt>
                <c:pt idx="1930">
                  <c:v>44069</c:v>
                </c:pt>
                <c:pt idx="1931">
                  <c:v>44070</c:v>
                </c:pt>
                <c:pt idx="1932">
                  <c:v>44071</c:v>
                </c:pt>
                <c:pt idx="1933">
                  <c:v>44074</c:v>
                </c:pt>
                <c:pt idx="1934">
                  <c:v>44075</c:v>
                </c:pt>
                <c:pt idx="1935">
                  <c:v>44076</c:v>
                </c:pt>
                <c:pt idx="1936">
                  <c:v>44077</c:v>
                </c:pt>
                <c:pt idx="1937">
                  <c:v>44078</c:v>
                </c:pt>
                <c:pt idx="1938">
                  <c:v>44081</c:v>
                </c:pt>
                <c:pt idx="1939">
                  <c:v>44082</c:v>
                </c:pt>
                <c:pt idx="1940">
                  <c:v>44083</c:v>
                </c:pt>
                <c:pt idx="1941">
                  <c:v>44084</c:v>
                </c:pt>
                <c:pt idx="1942">
                  <c:v>44085</c:v>
                </c:pt>
                <c:pt idx="1943">
                  <c:v>44088</c:v>
                </c:pt>
                <c:pt idx="1944">
                  <c:v>44089</c:v>
                </c:pt>
                <c:pt idx="1945">
                  <c:v>44090</c:v>
                </c:pt>
                <c:pt idx="1946">
                  <c:v>44091</c:v>
                </c:pt>
                <c:pt idx="1947">
                  <c:v>44092</c:v>
                </c:pt>
                <c:pt idx="1948">
                  <c:v>44095</c:v>
                </c:pt>
                <c:pt idx="1949">
                  <c:v>44096</c:v>
                </c:pt>
                <c:pt idx="1950">
                  <c:v>44097</c:v>
                </c:pt>
                <c:pt idx="1951">
                  <c:v>44098</c:v>
                </c:pt>
                <c:pt idx="1952">
                  <c:v>44099</c:v>
                </c:pt>
                <c:pt idx="1953">
                  <c:v>44102</c:v>
                </c:pt>
                <c:pt idx="1954">
                  <c:v>44103</c:v>
                </c:pt>
                <c:pt idx="1955">
                  <c:v>44104</c:v>
                </c:pt>
                <c:pt idx="1956">
                  <c:v>44105</c:v>
                </c:pt>
                <c:pt idx="1957">
                  <c:v>44106</c:v>
                </c:pt>
                <c:pt idx="1958">
                  <c:v>44109</c:v>
                </c:pt>
                <c:pt idx="1959">
                  <c:v>44110</c:v>
                </c:pt>
                <c:pt idx="1960">
                  <c:v>44111</c:v>
                </c:pt>
                <c:pt idx="1961">
                  <c:v>44112</c:v>
                </c:pt>
                <c:pt idx="1962">
                  <c:v>44113</c:v>
                </c:pt>
                <c:pt idx="1963">
                  <c:v>44116</c:v>
                </c:pt>
                <c:pt idx="1964">
                  <c:v>44117</c:v>
                </c:pt>
                <c:pt idx="1965">
                  <c:v>44118</c:v>
                </c:pt>
                <c:pt idx="1966">
                  <c:v>44119</c:v>
                </c:pt>
                <c:pt idx="1967">
                  <c:v>44120</c:v>
                </c:pt>
                <c:pt idx="1968">
                  <c:v>44123</c:v>
                </c:pt>
                <c:pt idx="1969">
                  <c:v>44124</c:v>
                </c:pt>
                <c:pt idx="1970">
                  <c:v>44125</c:v>
                </c:pt>
                <c:pt idx="1971">
                  <c:v>44126</c:v>
                </c:pt>
                <c:pt idx="1972">
                  <c:v>44127</c:v>
                </c:pt>
                <c:pt idx="1973">
                  <c:v>44130</c:v>
                </c:pt>
                <c:pt idx="1974">
                  <c:v>44131</c:v>
                </c:pt>
                <c:pt idx="1975">
                  <c:v>44132</c:v>
                </c:pt>
                <c:pt idx="1976">
                  <c:v>44133</c:v>
                </c:pt>
                <c:pt idx="1977">
                  <c:v>44134</c:v>
                </c:pt>
                <c:pt idx="1978">
                  <c:v>44137</c:v>
                </c:pt>
                <c:pt idx="1979">
                  <c:v>44138</c:v>
                </c:pt>
                <c:pt idx="1980">
                  <c:v>44139</c:v>
                </c:pt>
                <c:pt idx="1981">
                  <c:v>44140</c:v>
                </c:pt>
                <c:pt idx="1982">
                  <c:v>44141</c:v>
                </c:pt>
                <c:pt idx="1983">
                  <c:v>44144</c:v>
                </c:pt>
                <c:pt idx="1984">
                  <c:v>44145</c:v>
                </c:pt>
                <c:pt idx="1985">
                  <c:v>44146</c:v>
                </c:pt>
                <c:pt idx="1986">
                  <c:v>44147</c:v>
                </c:pt>
                <c:pt idx="1987">
                  <c:v>44148</c:v>
                </c:pt>
                <c:pt idx="1988">
                  <c:v>44151</c:v>
                </c:pt>
                <c:pt idx="1989">
                  <c:v>44152</c:v>
                </c:pt>
                <c:pt idx="1990">
                  <c:v>44153</c:v>
                </c:pt>
                <c:pt idx="1991">
                  <c:v>44154</c:v>
                </c:pt>
                <c:pt idx="1992">
                  <c:v>44155</c:v>
                </c:pt>
                <c:pt idx="1993">
                  <c:v>44158</c:v>
                </c:pt>
                <c:pt idx="1994">
                  <c:v>44159</c:v>
                </c:pt>
                <c:pt idx="1995">
                  <c:v>44160</c:v>
                </c:pt>
                <c:pt idx="1996">
                  <c:v>44161</c:v>
                </c:pt>
                <c:pt idx="1997">
                  <c:v>44162</c:v>
                </c:pt>
                <c:pt idx="1998">
                  <c:v>44165</c:v>
                </c:pt>
                <c:pt idx="1999">
                  <c:v>44166</c:v>
                </c:pt>
                <c:pt idx="2000">
                  <c:v>44167</c:v>
                </c:pt>
                <c:pt idx="2001">
                  <c:v>44168</c:v>
                </c:pt>
                <c:pt idx="2002">
                  <c:v>44169</c:v>
                </c:pt>
                <c:pt idx="2003">
                  <c:v>44172</c:v>
                </c:pt>
                <c:pt idx="2004">
                  <c:v>44173</c:v>
                </c:pt>
                <c:pt idx="2005">
                  <c:v>44174</c:v>
                </c:pt>
                <c:pt idx="2006">
                  <c:v>44175</c:v>
                </c:pt>
                <c:pt idx="2007">
                  <c:v>44176</c:v>
                </c:pt>
                <c:pt idx="2008">
                  <c:v>44179</c:v>
                </c:pt>
                <c:pt idx="2009">
                  <c:v>44180</c:v>
                </c:pt>
                <c:pt idx="2010">
                  <c:v>44181</c:v>
                </c:pt>
                <c:pt idx="2011">
                  <c:v>44182</c:v>
                </c:pt>
                <c:pt idx="2012">
                  <c:v>44183</c:v>
                </c:pt>
                <c:pt idx="2013">
                  <c:v>44186</c:v>
                </c:pt>
                <c:pt idx="2014">
                  <c:v>44187</c:v>
                </c:pt>
                <c:pt idx="2015">
                  <c:v>44188</c:v>
                </c:pt>
                <c:pt idx="2016">
                  <c:v>44189</c:v>
                </c:pt>
                <c:pt idx="2017">
                  <c:v>44190</c:v>
                </c:pt>
                <c:pt idx="2018">
                  <c:v>44193</c:v>
                </c:pt>
                <c:pt idx="2019">
                  <c:v>44194</c:v>
                </c:pt>
                <c:pt idx="2020">
                  <c:v>44195</c:v>
                </c:pt>
                <c:pt idx="2021">
                  <c:v>44196</c:v>
                </c:pt>
                <c:pt idx="2022">
                  <c:v>44197</c:v>
                </c:pt>
                <c:pt idx="2023">
                  <c:v>44200</c:v>
                </c:pt>
                <c:pt idx="2024">
                  <c:v>44201</c:v>
                </c:pt>
                <c:pt idx="2025">
                  <c:v>44202</c:v>
                </c:pt>
                <c:pt idx="2026">
                  <c:v>44203</c:v>
                </c:pt>
                <c:pt idx="2027">
                  <c:v>44204</c:v>
                </c:pt>
                <c:pt idx="2028">
                  <c:v>44207</c:v>
                </c:pt>
                <c:pt idx="2029">
                  <c:v>44208</c:v>
                </c:pt>
                <c:pt idx="2030">
                  <c:v>44209</c:v>
                </c:pt>
                <c:pt idx="2031">
                  <c:v>44210</c:v>
                </c:pt>
                <c:pt idx="2032">
                  <c:v>44211</c:v>
                </c:pt>
                <c:pt idx="2033">
                  <c:v>44214</c:v>
                </c:pt>
                <c:pt idx="2034">
                  <c:v>44215</c:v>
                </c:pt>
                <c:pt idx="2035">
                  <c:v>44216</c:v>
                </c:pt>
                <c:pt idx="2036">
                  <c:v>44217</c:v>
                </c:pt>
                <c:pt idx="2037">
                  <c:v>44218</c:v>
                </c:pt>
                <c:pt idx="2038">
                  <c:v>44221</c:v>
                </c:pt>
                <c:pt idx="2039">
                  <c:v>44222</c:v>
                </c:pt>
                <c:pt idx="2040">
                  <c:v>44223</c:v>
                </c:pt>
                <c:pt idx="2041">
                  <c:v>44224</c:v>
                </c:pt>
                <c:pt idx="2042">
                  <c:v>44225</c:v>
                </c:pt>
                <c:pt idx="2043">
                  <c:v>44228</c:v>
                </c:pt>
                <c:pt idx="2044">
                  <c:v>44229</c:v>
                </c:pt>
                <c:pt idx="2045">
                  <c:v>44230</c:v>
                </c:pt>
                <c:pt idx="2046">
                  <c:v>44231</c:v>
                </c:pt>
                <c:pt idx="2047">
                  <c:v>44232</c:v>
                </c:pt>
                <c:pt idx="2048">
                  <c:v>44235</c:v>
                </c:pt>
                <c:pt idx="2049">
                  <c:v>44236</c:v>
                </c:pt>
                <c:pt idx="2050">
                  <c:v>44237</c:v>
                </c:pt>
                <c:pt idx="2051">
                  <c:v>44238</c:v>
                </c:pt>
                <c:pt idx="2052">
                  <c:v>44239</c:v>
                </c:pt>
                <c:pt idx="2053">
                  <c:v>44242</c:v>
                </c:pt>
                <c:pt idx="2054">
                  <c:v>44243</c:v>
                </c:pt>
                <c:pt idx="2055">
                  <c:v>44244</c:v>
                </c:pt>
                <c:pt idx="2056">
                  <c:v>44245</c:v>
                </c:pt>
                <c:pt idx="2057">
                  <c:v>44246</c:v>
                </c:pt>
                <c:pt idx="2058">
                  <c:v>44249</c:v>
                </c:pt>
                <c:pt idx="2059">
                  <c:v>44250</c:v>
                </c:pt>
                <c:pt idx="2060">
                  <c:v>44251</c:v>
                </c:pt>
                <c:pt idx="2061">
                  <c:v>44252</c:v>
                </c:pt>
                <c:pt idx="2062">
                  <c:v>44253</c:v>
                </c:pt>
                <c:pt idx="2063">
                  <c:v>44256</c:v>
                </c:pt>
                <c:pt idx="2064">
                  <c:v>44257</c:v>
                </c:pt>
                <c:pt idx="2065">
                  <c:v>44258</c:v>
                </c:pt>
                <c:pt idx="2066">
                  <c:v>44259</c:v>
                </c:pt>
                <c:pt idx="2067">
                  <c:v>44260</c:v>
                </c:pt>
                <c:pt idx="2068">
                  <c:v>44263</c:v>
                </c:pt>
                <c:pt idx="2069">
                  <c:v>44264</c:v>
                </c:pt>
                <c:pt idx="2070">
                  <c:v>44265</c:v>
                </c:pt>
                <c:pt idx="2071">
                  <c:v>44266</c:v>
                </c:pt>
                <c:pt idx="2072">
                  <c:v>44267</c:v>
                </c:pt>
                <c:pt idx="2073">
                  <c:v>44270</c:v>
                </c:pt>
                <c:pt idx="2074">
                  <c:v>44271</c:v>
                </c:pt>
                <c:pt idx="2075">
                  <c:v>44272</c:v>
                </c:pt>
                <c:pt idx="2076">
                  <c:v>44273</c:v>
                </c:pt>
                <c:pt idx="2077">
                  <c:v>44274</c:v>
                </c:pt>
                <c:pt idx="2078">
                  <c:v>44277</c:v>
                </c:pt>
                <c:pt idx="2079">
                  <c:v>44278</c:v>
                </c:pt>
                <c:pt idx="2080">
                  <c:v>44279</c:v>
                </c:pt>
                <c:pt idx="2081">
                  <c:v>44280</c:v>
                </c:pt>
                <c:pt idx="2082">
                  <c:v>44281</c:v>
                </c:pt>
                <c:pt idx="2083">
                  <c:v>44284</c:v>
                </c:pt>
                <c:pt idx="2084">
                  <c:v>44285</c:v>
                </c:pt>
                <c:pt idx="2085">
                  <c:v>44286</c:v>
                </c:pt>
                <c:pt idx="2086">
                  <c:v>44287</c:v>
                </c:pt>
                <c:pt idx="2087">
                  <c:v>44288</c:v>
                </c:pt>
                <c:pt idx="2088">
                  <c:v>44291</c:v>
                </c:pt>
                <c:pt idx="2089">
                  <c:v>44292</c:v>
                </c:pt>
                <c:pt idx="2090">
                  <c:v>44293</c:v>
                </c:pt>
                <c:pt idx="2091">
                  <c:v>44294</c:v>
                </c:pt>
                <c:pt idx="2092">
                  <c:v>44295</c:v>
                </c:pt>
                <c:pt idx="2093">
                  <c:v>44298</c:v>
                </c:pt>
                <c:pt idx="2094">
                  <c:v>44299</c:v>
                </c:pt>
                <c:pt idx="2095">
                  <c:v>44300</c:v>
                </c:pt>
                <c:pt idx="2096">
                  <c:v>44301</c:v>
                </c:pt>
                <c:pt idx="2097">
                  <c:v>44302</c:v>
                </c:pt>
                <c:pt idx="2098">
                  <c:v>44305</c:v>
                </c:pt>
                <c:pt idx="2099">
                  <c:v>44306</c:v>
                </c:pt>
                <c:pt idx="2100">
                  <c:v>44307</c:v>
                </c:pt>
                <c:pt idx="2101">
                  <c:v>44308</c:v>
                </c:pt>
                <c:pt idx="2102">
                  <c:v>44309</c:v>
                </c:pt>
                <c:pt idx="2103">
                  <c:v>44312</c:v>
                </c:pt>
                <c:pt idx="2104">
                  <c:v>44313</c:v>
                </c:pt>
                <c:pt idx="2105">
                  <c:v>44314</c:v>
                </c:pt>
                <c:pt idx="2106">
                  <c:v>44315</c:v>
                </c:pt>
                <c:pt idx="2107">
                  <c:v>44316</c:v>
                </c:pt>
                <c:pt idx="2108">
                  <c:v>44319</c:v>
                </c:pt>
                <c:pt idx="2109">
                  <c:v>44320</c:v>
                </c:pt>
                <c:pt idx="2110">
                  <c:v>44321</c:v>
                </c:pt>
                <c:pt idx="2111">
                  <c:v>44322</c:v>
                </c:pt>
                <c:pt idx="2112">
                  <c:v>44323</c:v>
                </c:pt>
                <c:pt idx="2113">
                  <c:v>44326</c:v>
                </c:pt>
                <c:pt idx="2114">
                  <c:v>44327</c:v>
                </c:pt>
                <c:pt idx="2115">
                  <c:v>44328</c:v>
                </c:pt>
                <c:pt idx="2116">
                  <c:v>44329</c:v>
                </c:pt>
                <c:pt idx="2117">
                  <c:v>44330</c:v>
                </c:pt>
                <c:pt idx="2118">
                  <c:v>44333</c:v>
                </c:pt>
                <c:pt idx="2119">
                  <c:v>44334</c:v>
                </c:pt>
                <c:pt idx="2120">
                  <c:v>44335</c:v>
                </c:pt>
                <c:pt idx="2121">
                  <c:v>44336</c:v>
                </c:pt>
                <c:pt idx="2122">
                  <c:v>44337</c:v>
                </c:pt>
                <c:pt idx="2123">
                  <c:v>44340</c:v>
                </c:pt>
                <c:pt idx="2124">
                  <c:v>44341</c:v>
                </c:pt>
                <c:pt idx="2125">
                  <c:v>44342</c:v>
                </c:pt>
                <c:pt idx="2126">
                  <c:v>44343</c:v>
                </c:pt>
                <c:pt idx="2127">
                  <c:v>44344</c:v>
                </c:pt>
                <c:pt idx="2128">
                  <c:v>44347</c:v>
                </c:pt>
                <c:pt idx="2129">
                  <c:v>44348</c:v>
                </c:pt>
                <c:pt idx="2130">
                  <c:v>44349</c:v>
                </c:pt>
                <c:pt idx="2131">
                  <c:v>44350</c:v>
                </c:pt>
                <c:pt idx="2132">
                  <c:v>44351</c:v>
                </c:pt>
                <c:pt idx="2133">
                  <c:v>44354</c:v>
                </c:pt>
                <c:pt idx="2134">
                  <c:v>44355</c:v>
                </c:pt>
                <c:pt idx="2135">
                  <c:v>44356</c:v>
                </c:pt>
                <c:pt idx="2136">
                  <c:v>44357</c:v>
                </c:pt>
                <c:pt idx="2137">
                  <c:v>44358</c:v>
                </c:pt>
                <c:pt idx="2138">
                  <c:v>44361</c:v>
                </c:pt>
                <c:pt idx="2139">
                  <c:v>44362</c:v>
                </c:pt>
                <c:pt idx="2140">
                  <c:v>44363</c:v>
                </c:pt>
                <c:pt idx="2141">
                  <c:v>44364</c:v>
                </c:pt>
                <c:pt idx="2142">
                  <c:v>44365</c:v>
                </c:pt>
                <c:pt idx="2143">
                  <c:v>44368</c:v>
                </c:pt>
                <c:pt idx="2144">
                  <c:v>44369</c:v>
                </c:pt>
                <c:pt idx="2145">
                  <c:v>44370</c:v>
                </c:pt>
                <c:pt idx="2146">
                  <c:v>44371</c:v>
                </c:pt>
                <c:pt idx="2147">
                  <c:v>44372</c:v>
                </c:pt>
                <c:pt idx="2148">
                  <c:v>44375</c:v>
                </c:pt>
                <c:pt idx="2149">
                  <c:v>44376</c:v>
                </c:pt>
                <c:pt idx="2150">
                  <c:v>44377</c:v>
                </c:pt>
                <c:pt idx="2151">
                  <c:v>44378</c:v>
                </c:pt>
                <c:pt idx="2152">
                  <c:v>44379</c:v>
                </c:pt>
                <c:pt idx="2153">
                  <c:v>44382</c:v>
                </c:pt>
                <c:pt idx="2154">
                  <c:v>44383</c:v>
                </c:pt>
                <c:pt idx="2155">
                  <c:v>44384</c:v>
                </c:pt>
                <c:pt idx="2156">
                  <c:v>44385</c:v>
                </c:pt>
                <c:pt idx="2157">
                  <c:v>44386</c:v>
                </c:pt>
                <c:pt idx="2158">
                  <c:v>44389</c:v>
                </c:pt>
                <c:pt idx="2159">
                  <c:v>44390</c:v>
                </c:pt>
                <c:pt idx="2160">
                  <c:v>44391</c:v>
                </c:pt>
                <c:pt idx="2161">
                  <c:v>44392</c:v>
                </c:pt>
                <c:pt idx="2162">
                  <c:v>44393</c:v>
                </c:pt>
                <c:pt idx="2163">
                  <c:v>44396</c:v>
                </c:pt>
                <c:pt idx="2164">
                  <c:v>44397</c:v>
                </c:pt>
                <c:pt idx="2165">
                  <c:v>44398</c:v>
                </c:pt>
                <c:pt idx="2166">
                  <c:v>44399</c:v>
                </c:pt>
                <c:pt idx="2167">
                  <c:v>44400</c:v>
                </c:pt>
                <c:pt idx="2168">
                  <c:v>44403</c:v>
                </c:pt>
                <c:pt idx="2169">
                  <c:v>44404</c:v>
                </c:pt>
                <c:pt idx="2170">
                  <c:v>44405</c:v>
                </c:pt>
                <c:pt idx="2171">
                  <c:v>44406</c:v>
                </c:pt>
                <c:pt idx="2172">
                  <c:v>44407</c:v>
                </c:pt>
                <c:pt idx="2173">
                  <c:v>44410</c:v>
                </c:pt>
                <c:pt idx="2174">
                  <c:v>44411</c:v>
                </c:pt>
                <c:pt idx="2175">
                  <c:v>44412</c:v>
                </c:pt>
                <c:pt idx="2176">
                  <c:v>44413</c:v>
                </c:pt>
                <c:pt idx="2177">
                  <c:v>44414</c:v>
                </c:pt>
                <c:pt idx="2178">
                  <c:v>44417</c:v>
                </c:pt>
                <c:pt idx="2179">
                  <c:v>44418</c:v>
                </c:pt>
                <c:pt idx="2180">
                  <c:v>44419</c:v>
                </c:pt>
                <c:pt idx="2181">
                  <c:v>44420</c:v>
                </c:pt>
                <c:pt idx="2182">
                  <c:v>44421</c:v>
                </c:pt>
                <c:pt idx="2183">
                  <c:v>44424</c:v>
                </c:pt>
                <c:pt idx="2184">
                  <c:v>44425</c:v>
                </c:pt>
                <c:pt idx="2185">
                  <c:v>44426</c:v>
                </c:pt>
                <c:pt idx="2186">
                  <c:v>44427</c:v>
                </c:pt>
                <c:pt idx="2187">
                  <c:v>44428</c:v>
                </c:pt>
                <c:pt idx="2188">
                  <c:v>44431</c:v>
                </c:pt>
                <c:pt idx="2189">
                  <c:v>44432</c:v>
                </c:pt>
                <c:pt idx="2190">
                  <c:v>44433</c:v>
                </c:pt>
                <c:pt idx="2191">
                  <c:v>44434</c:v>
                </c:pt>
                <c:pt idx="2192">
                  <c:v>44435</c:v>
                </c:pt>
                <c:pt idx="2193">
                  <c:v>44438</c:v>
                </c:pt>
                <c:pt idx="2194">
                  <c:v>44439</c:v>
                </c:pt>
                <c:pt idx="2195">
                  <c:v>44440</c:v>
                </c:pt>
                <c:pt idx="2196">
                  <c:v>44441</c:v>
                </c:pt>
                <c:pt idx="2197">
                  <c:v>44442</c:v>
                </c:pt>
                <c:pt idx="2198">
                  <c:v>44445</c:v>
                </c:pt>
                <c:pt idx="2199">
                  <c:v>44446</c:v>
                </c:pt>
                <c:pt idx="2200">
                  <c:v>44447</c:v>
                </c:pt>
                <c:pt idx="2201">
                  <c:v>44448</c:v>
                </c:pt>
                <c:pt idx="2202">
                  <c:v>44449</c:v>
                </c:pt>
                <c:pt idx="2203">
                  <c:v>44452</c:v>
                </c:pt>
                <c:pt idx="2204">
                  <c:v>44453</c:v>
                </c:pt>
                <c:pt idx="2205">
                  <c:v>44454</c:v>
                </c:pt>
                <c:pt idx="2206">
                  <c:v>44455</c:v>
                </c:pt>
                <c:pt idx="2207">
                  <c:v>44456</c:v>
                </c:pt>
                <c:pt idx="2208">
                  <c:v>44459</c:v>
                </c:pt>
                <c:pt idx="2209">
                  <c:v>44460</c:v>
                </c:pt>
                <c:pt idx="2210">
                  <c:v>44461</c:v>
                </c:pt>
                <c:pt idx="2211">
                  <c:v>44462</c:v>
                </c:pt>
                <c:pt idx="2212">
                  <c:v>44463</c:v>
                </c:pt>
                <c:pt idx="2213">
                  <c:v>44466</c:v>
                </c:pt>
                <c:pt idx="2214">
                  <c:v>44467</c:v>
                </c:pt>
                <c:pt idx="2215">
                  <c:v>44468</c:v>
                </c:pt>
                <c:pt idx="2216">
                  <c:v>44469</c:v>
                </c:pt>
                <c:pt idx="2217">
                  <c:v>44470</c:v>
                </c:pt>
                <c:pt idx="2218">
                  <c:v>44473</c:v>
                </c:pt>
                <c:pt idx="2219">
                  <c:v>44474</c:v>
                </c:pt>
                <c:pt idx="2220">
                  <c:v>44475</c:v>
                </c:pt>
                <c:pt idx="2221">
                  <c:v>44476</c:v>
                </c:pt>
                <c:pt idx="2222">
                  <c:v>44477</c:v>
                </c:pt>
                <c:pt idx="2223">
                  <c:v>44480</c:v>
                </c:pt>
                <c:pt idx="2224">
                  <c:v>44481</c:v>
                </c:pt>
                <c:pt idx="2225">
                  <c:v>44482</c:v>
                </c:pt>
                <c:pt idx="2226">
                  <c:v>44483</c:v>
                </c:pt>
                <c:pt idx="2227">
                  <c:v>44484</c:v>
                </c:pt>
                <c:pt idx="2228">
                  <c:v>44487</c:v>
                </c:pt>
                <c:pt idx="2229">
                  <c:v>44488</c:v>
                </c:pt>
                <c:pt idx="2230">
                  <c:v>44489</c:v>
                </c:pt>
                <c:pt idx="2231">
                  <c:v>44490</c:v>
                </c:pt>
                <c:pt idx="2232">
                  <c:v>44491</c:v>
                </c:pt>
                <c:pt idx="2233">
                  <c:v>44494</c:v>
                </c:pt>
                <c:pt idx="2234">
                  <c:v>44495</c:v>
                </c:pt>
                <c:pt idx="2235">
                  <c:v>44496</c:v>
                </c:pt>
                <c:pt idx="2236">
                  <c:v>44497</c:v>
                </c:pt>
                <c:pt idx="2237">
                  <c:v>44498</c:v>
                </c:pt>
                <c:pt idx="2238">
                  <c:v>44501</c:v>
                </c:pt>
                <c:pt idx="2239">
                  <c:v>44502</c:v>
                </c:pt>
                <c:pt idx="2240">
                  <c:v>44503</c:v>
                </c:pt>
                <c:pt idx="2241">
                  <c:v>44504</c:v>
                </c:pt>
                <c:pt idx="2242">
                  <c:v>44505</c:v>
                </c:pt>
                <c:pt idx="2243">
                  <c:v>44508</c:v>
                </c:pt>
                <c:pt idx="2244">
                  <c:v>44509</c:v>
                </c:pt>
                <c:pt idx="2245">
                  <c:v>44510</c:v>
                </c:pt>
                <c:pt idx="2246">
                  <c:v>44511</c:v>
                </c:pt>
                <c:pt idx="2247">
                  <c:v>44512</c:v>
                </c:pt>
                <c:pt idx="2248">
                  <c:v>44515</c:v>
                </c:pt>
                <c:pt idx="2249">
                  <c:v>44516</c:v>
                </c:pt>
                <c:pt idx="2250">
                  <c:v>44517</c:v>
                </c:pt>
                <c:pt idx="2251">
                  <c:v>44518</c:v>
                </c:pt>
                <c:pt idx="2252">
                  <c:v>44519</c:v>
                </c:pt>
                <c:pt idx="2253">
                  <c:v>44522</c:v>
                </c:pt>
                <c:pt idx="2254">
                  <c:v>44523</c:v>
                </c:pt>
                <c:pt idx="2255">
                  <c:v>44524</c:v>
                </c:pt>
                <c:pt idx="2256">
                  <c:v>44525</c:v>
                </c:pt>
                <c:pt idx="2257">
                  <c:v>44526</c:v>
                </c:pt>
                <c:pt idx="2258">
                  <c:v>44529</c:v>
                </c:pt>
                <c:pt idx="2259">
                  <c:v>44530</c:v>
                </c:pt>
                <c:pt idx="2260">
                  <c:v>44531</c:v>
                </c:pt>
                <c:pt idx="2261">
                  <c:v>44532</c:v>
                </c:pt>
                <c:pt idx="2262">
                  <c:v>44533</c:v>
                </c:pt>
                <c:pt idx="2263">
                  <c:v>44536</c:v>
                </c:pt>
                <c:pt idx="2264">
                  <c:v>44537</c:v>
                </c:pt>
                <c:pt idx="2265">
                  <c:v>44538</c:v>
                </c:pt>
                <c:pt idx="2266">
                  <c:v>44539</c:v>
                </c:pt>
                <c:pt idx="2267">
                  <c:v>44540</c:v>
                </c:pt>
                <c:pt idx="2268">
                  <c:v>44543</c:v>
                </c:pt>
                <c:pt idx="2269">
                  <c:v>44544</c:v>
                </c:pt>
                <c:pt idx="2270">
                  <c:v>44545</c:v>
                </c:pt>
                <c:pt idx="2271">
                  <c:v>44546</c:v>
                </c:pt>
                <c:pt idx="2272">
                  <c:v>44547</c:v>
                </c:pt>
                <c:pt idx="2273">
                  <c:v>44550</c:v>
                </c:pt>
                <c:pt idx="2274">
                  <c:v>44551</c:v>
                </c:pt>
                <c:pt idx="2275">
                  <c:v>44552</c:v>
                </c:pt>
                <c:pt idx="2276">
                  <c:v>44553</c:v>
                </c:pt>
                <c:pt idx="2277">
                  <c:v>44554</c:v>
                </c:pt>
                <c:pt idx="2278">
                  <c:v>44557</c:v>
                </c:pt>
                <c:pt idx="2279">
                  <c:v>44558</c:v>
                </c:pt>
                <c:pt idx="2280">
                  <c:v>44559</c:v>
                </c:pt>
                <c:pt idx="2281">
                  <c:v>44560</c:v>
                </c:pt>
                <c:pt idx="2282">
                  <c:v>44561</c:v>
                </c:pt>
                <c:pt idx="2283">
                  <c:v>44564</c:v>
                </c:pt>
                <c:pt idx="2284">
                  <c:v>44565</c:v>
                </c:pt>
                <c:pt idx="2285">
                  <c:v>44566</c:v>
                </c:pt>
                <c:pt idx="2286">
                  <c:v>44567</c:v>
                </c:pt>
                <c:pt idx="2287">
                  <c:v>44568</c:v>
                </c:pt>
                <c:pt idx="2288">
                  <c:v>44571</c:v>
                </c:pt>
                <c:pt idx="2289">
                  <c:v>44572</c:v>
                </c:pt>
                <c:pt idx="2290">
                  <c:v>44573</c:v>
                </c:pt>
                <c:pt idx="2291">
                  <c:v>44574</c:v>
                </c:pt>
                <c:pt idx="2292">
                  <c:v>44575</c:v>
                </c:pt>
                <c:pt idx="2293">
                  <c:v>44578</c:v>
                </c:pt>
                <c:pt idx="2294">
                  <c:v>44579</c:v>
                </c:pt>
                <c:pt idx="2295">
                  <c:v>44580</c:v>
                </c:pt>
                <c:pt idx="2296">
                  <c:v>44581</c:v>
                </c:pt>
                <c:pt idx="2297">
                  <c:v>44582</c:v>
                </c:pt>
                <c:pt idx="2298">
                  <c:v>44585</c:v>
                </c:pt>
                <c:pt idx="2299">
                  <c:v>44586</c:v>
                </c:pt>
                <c:pt idx="2300">
                  <c:v>44587</c:v>
                </c:pt>
                <c:pt idx="2301">
                  <c:v>44588</c:v>
                </c:pt>
                <c:pt idx="2302">
                  <c:v>44589</c:v>
                </c:pt>
                <c:pt idx="2303">
                  <c:v>44592</c:v>
                </c:pt>
                <c:pt idx="2304">
                  <c:v>44593</c:v>
                </c:pt>
                <c:pt idx="2305">
                  <c:v>44594</c:v>
                </c:pt>
                <c:pt idx="2306">
                  <c:v>44595</c:v>
                </c:pt>
                <c:pt idx="2307">
                  <c:v>44596</c:v>
                </c:pt>
                <c:pt idx="2308">
                  <c:v>44599</c:v>
                </c:pt>
                <c:pt idx="2309">
                  <c:v>44600</c:v>
                </c:pt>
                <c:pt idx="2310">
                  <c:v>44601</c:v>
                </c:pt>
                <c:pt idx="2311">
                  <c:v>44602</c:v>
                </c:pt>
                <c:pt idx="2312">
                  <c:v>44603</c:v>
                </c:pt>
                <c:pt idx="2313">
                  <c:v>44606</c:v>
                </c:pt>
                <c:pt idx="2314">
                  <c:v>44607</c:v>
                </c:pt>
                <c:pt idx="2315">
                  <c:v>44608</c:v>
                </c:pt>
                <c:pt idx="2316">
                  <c:v>44609</c:v>
                </c:pt>
                <c:pt idx="2317">
                  <c:v>44610</c:v>
                </c:pt>
                <c:pt idx="2318">
                  <c:v>44613</c:v>
                </c:pt>
                <c:pt idx="2319">
                  <c:v>44614</c:v>
                </c:pt>
                <c:pt idx="2320">
                  <c:v>44615</c:v>
                </c:pt>
                <c:pt idx="2321">
                  <c:v>44616</c:v>
                </c:pt>
                <c:pt idx="2322">
                  <c:v>44617</c:v>
                </c:pt>
                <c:pt idx="2323">
                  <c:v>44620</c:v>
                </c:pt>
                <c:pt idx="2324">
                  <c:v>44621</c:v>
                </c:pt>
                <c:pt idx="2325">
                  <c:v>44622</c:v>
                </c:pt>
                <c:pt idx="2326">
                  <c:v>44623</c:v>
                </c:pt>
                <c:pt idx="2327">
                  <c:v>44624</c:v>
                </c:pt>
                <c:pt idx="2328">
                  <c:v>44627</c:v>
                </c:pt>
                <c:pt idx="2329">
                  <c:v>44628</c:v>
                </c:pt>
                <c:pt idx="2330">
                  <c:v>44629</c:v>
                </c:pt>
                <c:pt idx="2331">
                  <c:v>44630</c:v>
                </c:pt>
                <c:pt idx="2332">
                  <c:v>44631</c:v>
                </c:pt>
                <c:pt idx="2333">
                  <c:v>44634</c:v>
                </c:pt>
                <c:pt idx="2334">
                  <c:v>44635</c:v>
                </c:pt>
                <c:pt idx="2335">
                  <c:v>44636</c:v>
                </c:pt>
                <c:pt idx="2336">
                  <c:v>44637</c:v>
                </c:pt>
                <c:pt idx="2337">
                  <c:v>44638</c:v>
                </c:pt>
                <c:pt idx="2338">
                  <c:v>44641</c:v>
                </c:pt>
                <c:pt idx="2339">
                  <c:v>44642</c:v>
                </c:pt>
                <c:pt idx="2340">
                  <c:v>44643</c:v>
                </c:pt>
                <c:pt idx="2341">
                  <c:v>44644</c:v>
                </c:pt>
                <c:pt idx="2342">
                  <c:v>44645</c:v>
                </c:pt>
                <c:pt idx="2343">
                  <c:v>44648</c:v>
                </c:pt>
                <c:pt idx="2344">
                  <c:v>44649</c:v>
                </c:pt>
                <c:pt idx="2345">
                  <c:v>44650</c:v>
                </c:pt>
                <c:pt idx="2346">
                  <c:v>44651</c:v>
                </c:pt>
                <c:pt idx="2347">
                  <c:v>44652</c:v>
                </c:pt>
                <c:pt idx="2348">
                  <c:v>44655</c:v>
                </c:pt>
                <c:pt idx="2349">
                  <c:v>44656</c:v>
                </c:pt>
                <c:pt idx="2350">
                  <c:v>44657</c:v>
                </c:pt>
                <c:pt idx="2351">
                  <c:v>44658</c:v>
                </c:pt>
                <c:pt idx="2352">
                  <c:v>44659</c:v>
                </c:pt>
                <c:pt idx="2353">
                  <c:v>44662</c:v>
                </c:pt>
                <c:pt idx="2354">
                  <c:v>44663</c:v>
                </c:pt>
                <c:pt idx="2355">
                  <c:v>44664</c:v>
                </c:pt>
                <c:pt idx="2356">
                  <c:v>44665</c:v>
                </c:pt>
                <c:pt idx="2357">
                  <c:v>44666</c:v>
                </c:pt>
                <c:pt idx="2358">
                  <c:v>44669</c:v>
                </c:pt>
                <c:pt idx="2359">
                  <c:v>44670</c:v>
                </c:pt>
                <c:pt idx="2360">
                  <c:v>44671</c:v>
                </c:pt>
                <c:pt idx="2361">
                  <c:v>44672</c:v>
                </c:pt>
                <c:pt idx="2362">
                  <c:v>44673</c:v>
                </c:pt>
                <c:pt idx="2363">
                  <c:v>44676</c:v>
                </c:pt>
                <c:pt idx="2364">
                  <c:v>44677</c:v>
                </c:pt>
                <c:pt idx="2365">
                  <c:v>44678</c:v>
                </c:pt>
                <c:pt idx="2366">
                  <c:v>44679</c:v>
                </c:pt>
                <c:pt idx="2367">
                  <c:v>44680</c:v>
                </c:pt>
                <c:pt idx="2368">
                  <c:v>44683</c:v>
                </c:pt>
                <c:pt idx="2369">
                  <c:v>44684</c:v>
                </c:pt>
                <c:pt idx="2370">
                  <c:v>44685</c:v>
                </c:pt>
                <c:pt idx="2371">
                  <c:v>44686</c:v>
                </c:pt>
                <c:pt idx="2372">
                  <c:v>44687</c:v>
                </c:pt>
                <c:pt idx="2373">
                  <c:v>44690</c:v>
                </c:pt>
                <c:pt idx="2374">
                  <c:v>44691</c:v>
                </c:pt>
                <c:pt idx="2375">
                  <c:v>44692</c:v>
                </c:pt>
                <c:pt idx="2376">
                  <c:v>44693</c:v>
                </c:pt>
                <c:pt idx="2377">
                  <c:v>44694</c:v>
                </c:pt>
                <c:pt idx="2378">
                  <c:v>44697</c:v>
                </c:pt>
                <c:pt idx="2379">
                  <c:v>44698</c:v>
                </c:pt>
                <c:pt idx="2380">
                  <c:v>44699</c:v>
                </c:pt>
                <c:pt idx="2381">
                  <c:v>44700</c:v>
                </c:pt>
                <c:pt idx="2382">
                  <c:v>44701</c:v>
                </c:pt>
                <c:pt idx="2383">
                  <c:v>44704</c:v>
                </c:pt>
                <c:pt idx="2384">
                  <c:v>44705</c:v>
                </c:pt>
                <c:pt idx="2385">
                  <c:v>44706</c:v>
                </c:pt>
                <c:pt idx="2386">
                  <c:v>44707</c:v>
                </c:pt>
                <c:pt idx="2387">
                  <c:v>44708</c:v>
                </c:pt>
                <c:pt idx="2388">
                  <c:v>44711</c:v>
                </c:pt>
                <c:pt idx="2389">
                  <c:v>44712</c:v>
                </c:pt>
                <c:pt idx="2390">
                  <c:v>44713</c:v>
                </c:pt>
                <c:pt idx="2391">
                  <c:v>44714</c:v>
                </c:pt>
                <c:pt idx="2392">
                  <c:v>44715</c:v>
                </c:pt>
                <c:pt idx="2393">
                  <c:v>44718</c:v>
                </c:pt>
                <c:pt idx="2394">
                  <c:v>44719</c:v>
                </c:pt>
                <c:pt idx="2395">
                  <c:v>44720</c:v>
                </c:pt>
                <c:pt idx="2396">
                  <c:v>44721</c:v>
                </c:pt>
                <c:pt idx="2397">
                  <c:v>44722</c:v>
                </c:pt>
                <c:pt idx="2398">
                  <c:v>44725</c:v>
                </c:pt>
                <c:pt idx="2399">
                  <c:v>44726</c:v>
                </c:pt>
                <c:pt idx="2400">
                  <c:v>44727</c:v>
                </c:pt>
                <c:pt idx="2401">
                  <c:v>44728</c:v>
                </c:pt>
                <c:pt idx="2402">
                  <c:v>44729</c:v>
                </c:pt>
                <c:pt idx="2403">
                  <c:v>44732</c:v>
                </c:pt>
                <c:pt idx="2404">
                  <c:v>44733</c:v>
                </c:pt>
                <c:pt idx="2405">
                  <c:v>44734</c:v>
                </c:pt>
                <c:pt idx="2406">
                  <c:v>44735</c:v>
                </c:pt>
                <c:pt idx="2407">
                  <c:v>44736</c:v>
                </c:pt>
                <c:pt idx="2408">
                  <c:v>44739</c:v>
                </c:pt>
                <c:pt idx="2409">
                  <c:v>44740</c:v>
                </c:pt>
                <c:pt idx="2410">
                  <c:v>44741</c:v>
                </c:pt>
                <c:pt idx="2411">
                  <c:v>44742</c:v>
                </c:pt>
                <c:pt idx="2412">
                  <c:v>44743</c:v>
                </c:pt>
                <c:pt idx="2413">
                  <c:v>44746</c:v>
                </c:pt>
                <c:pt idx="2414">
                  <c:v>44747</c:v>
                </c:pt>
                <c:pt idx="2415">
                  <c:v>44748</c:v>
                </c:pt>
                <c:pt idx="2416">
                  <c:v>44749</c:v>
                </c:pt>
                <c:pt idx="2417">
                  <c:v>44750</c:v>
                </c:pt>
                <c:pt idx="2418">
                  <c:v>44753</c:v>
                </c:pt>
                <c:pt idx="2419">
                  <c:v>44754</c:v>
                </c:pt>
                <c:pt idx="2420">
                  <c:v>44755</c:v>
                </c:pt>
                <c:pt idx="2421">
                  <c:v>44756</c:v>
                </c:pt>
                <c:pt idx="2422">
                  <c:v>44757</c:v>
                </c:pt>
                <c:pt idx="2423">
                  <c:v>44760</c:v>
                </c:pt>
                <c:pt idx="2424">
                  <c:v>44761</c:v>
                </c:pt>
                <c:pt idx="2425">
                  <c:v>44762</c:v>
                </c:pt>
                <c:pt idx="2426">
                  <c:v>44763</c:v>
                </c:pt>
                <c:pt idx="2427">
                  <c:v>44764</c:v>
                </c:pt>
                <c:pt idx="2428">
                  <c:v>44767</c:v>
                </c:pt>
                <c:pt idx="2429">
                  <c:v>44768</c:v>
                </c:pt>
                <c:pt idx="2430">
                  <c:v>44769</c:v>
                </c:pt>
                <c:pt idx="2431">
                  <c:v>44770</c:v>
                </c:pt>
                <c:pt idx="2432">
                  <c:v>44771</c:v>
                </c:pt>
                <c:pt idx="2433">
                  <c:v>44774</c:v>
                </c:pt>
                <c:pt idx="2434">
                  <c:v>44775</c:v>
                </c:pt>
                <c:pt idx="2435">
                  <c:v>44776</c:v>
                </c:pt>
                <c:pt idx="2436">
                  <c:v>44777</c:v>
                </c:pt>
                <c:pt idx="2437">
                  <c:v>44778</c:v>
                </c:pt>
                <c:pt idx="2438">
                  <c:v>44781</c:v>
                </c:pt>
                <c:pt idx="2439">
                  <c:v>44782</c:v>
                </c:pt>
                <c:pt idx="2440">
                  <c:v>44783</c:v>
                </c:pt>
                <c:pt idx="2441">
                  <c:v>44784</c:v>
                </c:pt>
                <c:pt idx="2442">
                  <c:v>44785</c:v>
                </c:pt>
                <c:pt idx="2443">
                  <c:v>44788</c:v>
                </c:pt>
                <c:pt idx="2444">
                  <c:v>44789</c:v>
                </c:pt>
                <c:pt idx="2445">
                  <c:v>44790</c:v>
                </c:pt>
                <c:pt idx="2446">
                  <c:v>44791</c:v>
                </c:pt>
                <c:pt idx="2447">
                  <c:v>44792</c:v>
                </c:pt>
                <c:pt idx="2448">
                  <c:v>44795</c:v>
                </c:pt>
                <c:pt idx="2449">
                  <c:v>44796</c:v>
                </c:pt>
                <c:pt idx="2450">
                  <c:v>44797</c:v>
                </c:pt>
                <c:pt idx="2451">
                  <c:v>44798</c:v>
                </c:pt>
                <c:pt idx="2452">
                  <c:v>44799</c:v>
                </c:pt>
                <c:pt idx="2453">
                  <c:v>44802</c:v>
                </c:pt>
                <c:pt idx="2454">
                  <c:v>44803</c:v>
                </c:pt>
                <c:pt idx="2455">
                  <c:v>44804</c:v>
                </c:pt>
                <c:pt idx="2456">
                  <c:v>44805</c:v>
                </c:pt>
                <c:pt idx="2457">
                  <c:v>44806</c:v>
                </c:pt>
                <c:pt idx="2458">
                  <c:v>44809</c:v>
                </c:pt>
                <c:pt idx="2459">
                  <c:v>44810</c:v>
                </c:pt>
                <c:pt idx="2460">
                  <c:v>44811</c:v>
                </c:pt>
                <c:pt idx="2461">
                  <c:v>44812</c:v>
                </c:pt>
                <c:pt idx="2462">
                  <c:v>44813</c:v>
                </c:pt>
                <c:pt idx="2463">
                  <c:v>44816</c:v>
                </c:pt>
                <c:pt idx="2464">
                  <c:v>44817</c:v>
                </c:pt>
                <c:pt idx="2465">
                  <c:v>44818</c:v>
                </c:pt>
                <c:pt idx="2466">
                  <c:v>44819</c:v>
                </c:pt>
                <c:pt idx="2467">
                  <c:v>44820</c:v>
                </c:pt>
                <c:pt idx="2468">
                  <c:v>44823</c:v>
                </c:pt>
                <c:pt idx="2469">
                  <c:v>44824</c:v>
                </c:pt>
                <c:pt idx="2470">
                  <c:v>44825</c:v>
                </c:pt>
                <c:pt idx="2471">
                  <c:v>44826</c:v>
                </c:pt>
                <c:pt idx="2472">
                  <c:v>44827</c:v>
                </c:pt>
                <c:pt idx="2473">
                  <c:v>44830</c:v>
                </c:pt>
                <c:pt idx="2474">
                  <c:v>44831</c:v>
                </c:pt>
                <c:pt idx="2475">
                  <c:v>44832</c:v>
                </c:pt>
                <c:pt idx="2476">
                  <c:v>44833</c:v>
                </c:pt>
                <c:pt idx="2477">
                  <c:v>44834</c:v>
                </c:pt>
                <c:pt idx="2478">
                  <c:v>44837</c:v>
                </c:pt>
                <c:pt idx="2479">
                  <c:v>44838</c:v>
                </c:pt>
                <c:pt idx="2480">
                  <c:v>44839</c:v>
                </c:pt>
                <c:pt idx="2481">
                  <c:v>44840</c:v>
                </c:pt>
                <c:pt idx="2482">
                  <c:v>44841</c:v>
                </c:pt>
                <c:pt idx="2483">
                  <c:v>44844</c:v>
                </c:pt>
                <c:pt idx="2484">
                  <c:v>44845</c:v>
                </c:pt>
                <c:pt idx="2485">
                  <c:v>44846</c:v>
                </c:pt>
                <c:pt idx="2486">
                  <c:v>44847</c:v>
                </c:pt>
                <c:pt idx="2487">
                  <c:v>44848</c:v>
                </c:pt>
                <c:pt idx="2488">
                  <c:v>44851</c:v>
                </c:pt>
                <c:pt idx="2489">
                  <c:v>44852</c:v>
                </c:pt>
                <c:pt idx="2490">
                  <c:v>44853</c:v>
                </c:pt>
                <c:pt idx="2491">
                  <c:v>44854</c:v>
                </c:pt>
                <c:pt idx="2492">
                  <c:v>44855</c:v>
                </c:pt>
                <c:pt idx="2493">
                  <c:v>44858</c:v>
                </c:pt>
                <c:pt idx="2494">
                  <c:v>44859</c:v>
                </c:pt>
                <c:pt idx="2495">
                  <c:v>44860</c:v>
                </c:pt>
                <c:pt idx="2496">
                  <c:v>44861</c:v>
                </c:pt>
                <c:pt idx="2497">
                  <c:v>44862</c:v>
                </c:pt>
                <c:pt idx="2498">
                  <c:v>44865</c:v>
                </c:pt>
                <c:pt idx="2499">
                  <c:v>44866</c:v>
                </c:pt>
                <c:pt idx="2500">
                  <c:v>44867</c:v>
                </c:pt>
                <c:pt idx="2501">
                  <c:v>44868</c:v>
                </c:pt>
                <c:pt idx="2502">
                  <c:v>44869</c:v>
                </c:pt>
                <c:pt idx="2503">
                  <c:v>44872</c:v>
                </c:pt>
                <c:pt idx="2504">
                  <c:v>44873</c:v>
                </c:pt>
                <c:pt idx="2505">
                  <c:v>44874</c:v>
                </c:pt>
                <c:pt idx="2506">
                  <c:v>44875</c:v>
                </c:pt>
                <c:pt idx="2507">
                  <c:v>44876</c:v>
                </c:pt>
                <c:pt idx="2508">
                  <c:v>44879</c:v>
                </c:pt>
                <c:pt idx="2509">
                  <c:v>44880</c:v>
                </c:pt>
                <c:pt idx="2510">
                  <c:v>44881</c:v>
                </c:pt>
                <c:pt idx="2511">
                  <c:v>44882</c:v>
                </c:pt>
                <c:pt idx="2512">
                  <c:v>44883</c:v>
                </c:pt>
                <c:pt idx="2513">
                  <c:v>44886</c:v>
                </c:pt>
                <c:pt idx="2514">
                  <c:v>44887</c:v>
                </c:pt>
                <c:pt idx="2515">
                  <c:v>44888</c:v>
                </c:pt>
                <c:pt idx="2516">
                  <c:v>44889</c:v>
                </c:pt>
                <c:pt idx="2517">
                  <c:v>44890</c:v>
                </c:pt>
                <c:pt idx="2518">
                  <c:v>44893</c:v>
                </c:pt>
                <c:pt idx="2519">
                  <c:v>44894</c:v>
                </c:pt>
                <c:pt idx="2520">
                  <c:v>44895</c:v>
                </c:pt>
                <c:pt idx="2521">
                  <c:v>44896</c:v>
                </c:pt>
                <c:pt idx="2522">
                  <c:v>44897</c:v>
                </c:pt>
                <c:pt idx="2523">
                  <c:v>44900</c:v>
                </c:pt>
                <c:pt idx="2524">
                  <c:v>44901</c:v>
                </c:pt>
                <c:pt idx="2525">
                  <c:v>44902</c:v>
                </c:pt>
                <c:pt idx="2526">
                  <c:v>44903</c:v>
                </c:pt>
                <c:pt idx="2527">
                  <c:v>44904</c:v>
                </c:pt>
                <c:pt idx="2528">
                  <c:v>44907</c:v>
                </c:pt>
                <c:pt idx="2529">
                  <c:v>44908</c:v>
                </c:pt>
                <c:pt idx="2530">
                  <c:v>44909</c:v>
                </c:pt>
                <c:pt idx="2531">
                  <c:v>44910</c:v>
                </c:pt>
                <c:pt idx="2532">
                  <c:v>44911</c:v>
                </c:pt>
                <c:pt idx="2533">
                  <c:v>44914</c:v>
                </c:pt>
                <c:pt idx="2534">
                  <c:v>44915</c:v>
                </c:pt>
                <c:pt idx="2535">
                  <c:v>44916</c:v>
                </c:pt>
                <c:pt idx="2536">
                  <c:v>44917</c:v>
                </c:pt>
                <c:pt idx="2537">
                  <c:v>44918</c:v>
                </c:pt>
                <c:pt idx="2538">
                  <c:v>44921</c:v>
                </c:pt>
                <c:pt idx="2539">
                  <c:v>44922</c:v>
                </c:pt>
                <c:pt idx="2540">
                  <c:v>44923</c:v>
                </c:pt>
                <c:pt idx="2541">
                  <c:v>44924</c:v>
                </c:pt>
                <c:pt idx="2542">
                  <c:v>44925</c:v>
                </c:pt>
                <c:pt idx="2543">
                  <c:v>44928</c:v>
                </c:pt>
                <c:pt idx="2544">
                  <c:v>44929</c:v>
                </c:pt>
                <c:pt idx="2545">
                  <c:v>44930</c:v>
                </c:pt>
                <c:pt idx="2546">
                  <c:v>44931</c:v>
                </c:pt>
                <c:pt idx="2547">
                  <c:v>44932</c:v>
                </c:pt>
                <c:pt idx="2548">
                  <c:v>44935</c:v>
                </c:pt>
                <c:pt idx="2549">
                  <c:v>44936</c:v>
                </c:pt>
                <c:pt idx="2550">
                  <c:v>44937</c:v>
                </c:pt>
                <c:pt idx="2551">
                  <c:v>44938</c:v>
                </c:pt>
                <c:pt idx="2552">
                  <c:v>44939</c:v>
                </c:pt>
                <c:pt idx="2553">
                  <c:v>44942</c:v>
                </c:pt>
                <c:pt idx="2554">
                  <c:v>44943</c:v>
                </c:pt>
                <c:pt idx="2555">
                  <c:v>44944</c:v>
                </c:pt>
                <c:pt idx="2556">
                  <c:v>44945</c:v>
                </c:pt>
                <c:pt idx="2557">
                  <c:v>44946</c:v>
                </c:pt>
                <c:pt idx="2558">
                  <c:v>44949</c:v>
                </c:pt>
                <c:pt idx="2559">
                  <c:v>44950</c:v>
                </c:pt>
                <c:pt idx="2560">
                  <c:v>44951</c:v>
                </c:pt>
                <c:pt idx="2561">
                  <c:v>44952</c:v>
                </c:pt>
                <c:pt idx="2562">
                  <c:v>44953</c:v>
                </c:pt>
                <c:pt idx="2563">
                  <c:v>44956</c:v>
                </c:pt>
                <c:pt idx="2564">
                  <c:v>44957</c:v>
                </c:pt>
                <c:pt idx="2565">
                  <c:v>44958</c:v>
                </c:pt>
                <c:pt idx="2566">
                  <c:v>44959</c:v>
                </c:pt>
                <c:pt idx="2567">
                  <c:v>44960</c:v>
                </c:pt>
                <c:pt idx="2568">
                  <c:v>44963</c:v>
                </c:pt>
                <c:pt idx="2569">
                  <c:v>44964</c:v>
                </c:pt>
                <c:pt idx="2570">
                  <c:v>44965</c:v>
                </c:pt>
                <c:pt idx="2571">
                  <c:v>44966</c:v>
                </c:pt>
                <c:pt idx="2572">
                  <c:v>44967</c:v>
                </c:pt>
                <c:pt idx="2573">
                  <c:v>44970</c:v>
                </c:pt>
                <c:pt idx="2574">
                  <c:v>44971</c:v>
                </c:pt>
                <c:pt idx="2575">
                  <c:v>44972</c:v>
                </c:pt>
                <c:pt idx="2576">
                  <c:v>44973</c:v>
                </c:pt>
                <c:pt idx="2577">
                  <c:v>44974</c:v>
                </c:pt>
                <c:pt idx="2578">
                  <c:v>44977</c:v>
                </c:pt>
                <c:pt idx="2579">
                  <c:v>44978</c:v>
                </c:pt>
                <c:pt idx="2580">
                  <c:v>44979</c:v>
                </c:pt>
                <c:pt idx="2581">
                  <c:v>44980</c:v>
                </c:pt>
                <c:pt idx="2582">
                  <c:v>44981</c:v>
                </c:pt>
                <c:pt idx="2583">
                  <c:v>44984</c:v>
                </c:pt>
                <c:pt idx="2584">
                  <c:v>44985</c:v>
                </c:pt>
                <c:pt idx="2585">
                  <c:v>44986</c:v>
                </c:pt>
                <c:pt idx="2586">
                  <c:v>44987</c:v>
                </c:pt>
                <c:pt idx="2587">
                  <c:v>44988</c:v>
                </c:pt>
                <c:pt idx="2588">
                  <c:v>44991</c:v>
                </c:pt>
                <c:pt idx="2589">
                  <c:v>44992</c:v>
                </c:pt>
                <c:pt idx="2590">
                  <c:v>44993</c:v>
                </c:pt>
                <c:pt idx="2591">
                  <c:v>44994</c:v>
                </c:pt>
                <c:pt idx="2592">
                  <c:v>44995</c:v>
                </c:pt>
                <c:pt idx="2593">
                  <c:v>44998</c:v>
                </c:pt>
                <c:pt idx="2594">
                  <c:v>44999</c:v>
                </c:pt>
                <c:pt idx="2595">
                  <c:v>45000</c:v>
                </c:pt>
                <c:pt idx="2596">
                  <c:v>45001</c:v>
                </c:pt>
                <c:pt idx="2597">
                  <c:v>45002</c:v>
                </c:pt>
                <c:pt idx="2598">
                  <c:v>45005</c:v>
                </c:pt>
                <c:pt idx="2599">
                  <c:v>45006</c:v>
                </c:pt>
                <c:pt idx="2600">
                  <c:v>45007</c:v>
                </c:pt>
                <c:pt idx="2601">
                  <c:v>45008</c:v>
                </c:pt>
                <c:pt idx="2602">
                  <c:v>45009</c:v>
                </c:pt>
                <c:pt idx="2603">
                  <c:v>45012</c:v>
                </c:pt>
                <c:pt idx="2604">
                  <c:v>45013</c:v>
                </c:pt>
                <c:pt idx="2605">
                  <c:v>45014</c:v>
                </c:pt>
                <c:pt idx="2606">
                  <c:v>45015</c:v>
                </c:pt>
                <c:pt idx="2607">
                  <c:v>45016</c:v>
                </c:pt>
                <c:pt idx="2608">
                  <c:v>45019</c:v>
                </c:pt>
                <c:pt idx="2609">
                  <c:v>45020</c:v>
                </c:pt>
                <c:pt idx="2610">
                  <c:v>45021</c:v>
                </c:pt>
                <c:pt idx="2611">
                  <c:v>45022</c:v>
                </c:pt>
                <c:pt idx="2612">
                  <c:v>45023</c:v>
                </c:pt>
                <c:pt idx="2613">
                  <c:v>45026</c:v>
                </c:pt>
                <c:pt idx="2614">
                  <c:v>45027</c:v>
                </c:pt>
                <c:pt idx="2615">
                  <c:v>45028</c:v>
                </c:pt>
                <c:pt idx="2616">
                  <c:v>45029</c:v>
                </c:pt>
                <c:pt idx="2617">
                  <c:v>45030</c:v>
                </c:pt>
                <c:pt idx="2618">
                  <c:v>45033</c:v>
                </c:pt>
                <c:pt idx="2619">
                  <c:v>45034</c:v>
                </c:pt>
                <c:pt idx="2620">
                  <c:v>45035</c:v>
                </c:pt>
                <c:pt idx="2621">
                  <c:v>45036</c:v>
                </c:pt>
                <c:pt idx="2622">
                  <c:v>45037</c:v>
                </c:pt>
                <c:pt idx="2623">
                  <c:v>45040</c:v>
                </c:pt>
                <c:pt idx="2624">
                  <c:v>45041</c:v>
                </c:pt>
                <c:pt idx="2625">
                  <c:v>45042</c:v>
                </c:pt>
                <c:pt idx="2626">
                  <c:v>45043</c:v>
                </c:pt>
                <c:pt idx="2627">
                  <c:v>45044</c:v>
                </c:pt>
                <c:pt idx="2628">
                  <c:v>45047</c:v>
                </c:pt>
                <c:pt idx="2629">
                  <c:v>45048</c:v>
                </c:pt>
                <c:pt idx="2630">
                  <c:v>45049</c:v>
                </c:pt>
                <c:pt idx="2631">
                  <c:v>45050</c:v>
                </c:pt>
                <c:pt idx="2632">
                  <c:v>45051</c:v>
                </c:pt>
                <c:pt idx="2633">
                  <c:v>45054</c:v>
                </c:pt>
                <c:pt idx="2634">
                  <c:v>45055</c:v>
                </c:pt>
                <c:pt idx="2635">
                  <c:v>45056</c:v>
                </c:pt>
                <c:pt idx="2636">
                  <c:v>45057</c:v>
                </c:pt>
                <c:pt idx="2637">
                  <c:v>45058</c:v>
                </c:pt>
                <c:pt idx="2638">
                  <c:v>45061</c:v>
                </c:pt>
                <c:pt idx="2639">
                  <c:v>45062</c:v>
                </c:pt>
                <c:pt idx="2640">
                  <c:v>45063</c:v>
                </c:pt>
                <c:pt idx="2641">
                  <c:v>45064</c:v>
                </c:pt>
                <c:pt idx="2642">
                  <c:v>45065</c:v>
                </c:pt>
                <c:pt idx="2643">
                  <c:v>45068</c:v>
                </c:pt>
                <c:pt idx="2644">
                  <c:v>45069</c:v>
                </c:pt>
                <c:pt idx="2645">
                  <c:v>45070</c:v>
                </c:pt>
                <c:pt idx="2646">
                  <c:v>45071</c:v>
                </c:pt>
                <c:pt idx="2647">
                  <c:v>45072</c:v>
                </c:pt>
                <c:pt idx="2648">
                  <c:v>45075</c:v>
                </c:pt>
                <c:pt idx="2649">
                  <c:v>45076</c:v>
                </c:pt>
                <c:pt idx="2650">
                  <c:v>45077</c:v>
                </c:pt>
                <c:pt idx="2651">
                  <c:v>45078</c:v>
                </c:pt>
                <c:pt idx="2652">
                  <c:v>45079</c:v>
                </c:pt>
                <c:pt idx="2653">
                  <c:v>45082</c:v>
                </c:pt>
                <c:pt idx="2654">
                  <c:v>45083</c:v>
                </c:pt>
                <c:pt idx="2655">
                  <c:v>45084</c:v>
                </c:pt>
                <c:pt idx="2656">
                  <c:v>45085</c:v>
                </c:pt>
                <c:pt idx="2657">
                  <c:v>45086</c:v>
                </c:pt>
                <c:pt idx="2658">
                  <c:v>45089</c:v>
                </c:pt>
                <c:pt idx="2659">
                  <c:v>45090</c:v>
                </c:pt>
                <c:pt idx="2660">
                  <c:v>45091</c:v>
                </c:pt>
                <c:pt idx="2661">
                  <c:v>45092</c:v>
                </c:pt>
                <c:pt idx="2662">
                  <c:v>45093</c:v>
                </c:pt>
                <c:pt idx="2663">
                  <c:v>45096</c:v>
                </c:pt>
                <c:pt idx="2664">
                  <c:v>45097</c:v>
                </c:pt>
                <c:pt idx="2665">
                  <c:v>45098</c:v>
                </c:pt>
                <c:pt idx="2666">
                  <c:v>45099</c:v>
                </c:pt>
                <c:pt idx="2667">
                  <c:v>45100</c:v>
                </c:pt>
                <c:pt idx="2668">
                  <c:v>45103</c:v>
                </c:pt>
                <c:pt idx="2669">
                  <c:v>45104</c:v>
                </c:pt>
                <c:pt idx="2670">
                  <c:v>45105</c:v>
                </c:pt>
                <c:pt idx="2671">
                  <c:v>45106</c:v>
                </c:pt>
                <c:pt idx="2672">
                  <c:v>45107</c:v>
                </c:pt>
                <c:pt idx="2673">
                  <c:v>45110</c:v>
                </c:pt>
                <c:pt idx="2674">
                  <c:v>45111</c:v>
                </c:pt>
                <c:pt idx="2675">
                  <c:v>45112</c:v>
                </c:pt>
                <c:pt idx="2676">
                  <c:v>45113</c:v>
                </c:pt>
                <c:pt idx="2677">
                  <c:v>45114</c:v>
                </c:pt>
                <c:pt idx="2678">
                  <c:v>45117</c:v>
                </c:pt>
                <c:pt idx="2679">
                  <c:v>45118</c:v>
                </c:pt>
                <c:pt idx="2680">
                  <c:v>45119</c:v>
                </c:pt>
                <c:pt idx="2681">
                  <c:v>45120</c:v>
                </c:pt>
                <c:pt idx="2682">
                  <c:v>45121</c:v>
                </c:pt>
                <c:pt idx="2683">
                  <c:v>45124</c:v>
                </c:pt>
                <c:pt idx="2684">
                  <c:v>45125</c:v>
                </c:pt>
                <c:pt idx="2685">
                  <c:v>45126</c:v>
                </c:pt>
                <c:pt idx="2686">
                  <c:v>45127</c:v>
                </c:pt>
                <c:pt idx="2687">
                  <c:v>45128</c:v>
                </c:pt>
                <c:pt idx="2688">
                  <c:v>45131</c:v>
                </c:pt>
                <c:pt idx="2689">
                  <c:v>45132</c:v>
                </c:pt>
                <c:pt idx="2690">
                  <c:v>45133</c:v>
                </c:pt>
                <c:pt idx="2691">
                  <c:v>45134</c:v>
                </c:pt>
                <c:pt idx="2692">
                  <c:v>45135</c:v>
                </c:pt>
                <c:pt idx="2693">
                  <c:v>45138</c:v>
                </c:pt>
                <c:pt idx="2694">
                  <c:v>45139</c:v>
                </c:pt>
                <c:pt idx="2695">
                  <c:v>45140</c:v>
                </c:pt>
                <c:pt idx="2696">
                  <c:v>45141</c:v>
                </c:pt>
                <c:pt idx="2697">
                  <c:v>45142</c:v>
                </c:pt>
                <c:pt idx="2698">
                  <c:v>45145</c:v>
                </c:pt>
                <c:pt idx="2699">
                  <c:v>45146</c:v>
                </c:pt>
                <c:pt idx="2700">
                  <c:v>45147</c:v>
                </c:pt>
                <c:pt idx="2701">
                  <c:v>45148</c:v>
                </c:pt>
                <c:pt idx="2702">
                  <c:v>45149</c:v>
                </c:pt>
                <c:pt idx="2703">
                  <c:v>45152</c:v>
                </c:pt>
                <c:pt idx="2704">
                  <c:v>45153</c:v>
                </c:pt>
                <c:pt idx="2705">
                  <c:v>45154</c:v>
                </c:pt>
                <c:pt idx="2706">
                  <c:v>45155</c:v>
                </c:pt>
                <c:pt idx="2707">
                  <c:v>45156</c:v>
                </c:pt>
                <c:pt idx="2708">
                  <c:v>45159</c:v>
                </c:pt>
                <c:pt idx="2709">
                  <c:v>45160</c:v>
                </c:pt>
                <c:pt idx="2710">
                  <c:v>45161</c:v>
                </c:pt>
                <c:pt idx="2711">
                  <c:v>45162</c:v>
                </c:pt>
                <c:pt idx="2712">
                  <c:v>45163</c:v>
                </c:pt>
                <c:pt idx="2713">
                  <c:v>45166</c:v>
                </c:pt>
                <c:pt idx="2714">
                  <c:v>45167</c:v>
                </c:pt>
                <c:pt idx="2715">
                  <c:v>45168</c:v>
                </c:pt>
                <c:pt idx="2716">
                  <c:v>45169</c:v>
                </c:pt>
                <c:pt idx="2717">
                  <c:v>45170</c:v>
                </c:pt>
                <c:pt idx="2718">
                  <c:v>45173</c:v>
                </c:pt>
                <c:pt idx="2719">
                  <c:v>45174</c:v>
                </c:pt>
                <c:pt idx="2720">
                  <c:v>45175</c:v>
                </c:pt>
                <c:pt idx="2721">
                  <c:v>45176</c:v>
                </c:pt>
                <c:pt idx="2722">
                  <c:v>45177</c:v>
                </c:pt>
                <c:pt idx="2723">
                  <c:v>45180</c:v>
                </c:pt>
                <c:pt idx="2724">
                  <c:v>45181</c:v>
                </c:pt>
                <c:pt idx="2725">
                  <c:v>45182</c:v>
                </c:pt>
                <c:pt idx="2726">
                  <c:v>45183</c:v>
                </c:pt>
                <c:pt idx="2727">
                  <c:v>45184</c:v>
                </c:pt>
                <c:pt idx="2728">
                  <c:v>45187</c:v>
                </c:pt>
                <c:pt idx="2729">
                  <c:v>45188</c:v>
                </c:pt>
                <c:pt idx="2730">
                  <c:v>45189</c:v>
                </c:pt>
                <c:pt idx="2731">
                  <c:v>45190</c:v>
                </c:pt>
                <c:pt idx="2732">
                  <c:v>45191</c:v>
                </c:pt>
                <c:pt idx="2733">
                  <c:v>45194</c:v>
                </c:pt>
                <c:pt idx="2734">
                  <c:v>45195</c:v>
                </c:pt>
                <c:pt idx="2735">
                  <c:v>45196</c:v>
                </c:pt>
                <c:pt idx="2736">
                  <c:v>45197</c:v>
                </c:pt>
                <c:pt idx="2737">
                  <c:v>45198</c:v>
                </c:pt>
                <c:pt idx="2738">
                  <c:v>45201</c:v>
                </c:pt>
                <c:pt idx="2739">
                  <c:v>45202</c:v>
                </c:pt>
                <c:pt idx="2740">
                  <c:v>45203</c:v>
                </c:pt>
                <c:pt idx="2741">
                  <c:v>45204</c:v>
                </c:pt>
                <c:pt idx="2742">
                  <c:v>45205</c:v>
                </c:pt>
                <c:pt idx="2743">
                  <c:v>45208</c:v>
                </c:pt>
                <c:pt idx="2744">
                  <c:v>45209</c:v>
                </c:pt>
                <c:pt idx="2745">
                  <c:v>45210</c:v>
                </c:pt>
                <c:pt idx="2746">
                  <c:v>45211</c:v>
                </c:pt>
                <c:pt idx="2747">
                  <c:v>45212</c:v>
                </c:pt>
                <c:pt idx="2748">
                  <c:v>45215</c:v>
                </c:pt>
                <c:pt idx="2749">
                  <c:v>45216</c:v>
                </c:pt>
                <c:pt idx="2750">
                  <c:v>45217</c:v>
                </c:pt>
                <c:pt idx="2751">
                  <c:v>45218</c:v>
                </c:pt>
                <c:pt idx="2752">
                  <c:v>45219</c:v>
                </c:pt>
                <c:pt idx="2753">
                  <c:v>45222</c:v>
                </c:pt>
                <c:pt idx="2754">
                  <c:v>45223</c:v>
                </c:pt>
                <c:pt idx="2755">
                  <c:v>45224</c:v>
                </c:pt>
                <c:pt idx="2756">
                  <c:v>45225</c:v>
                </c:pt>
                <c:pt idx="2757">
                  <c:v>45226</c:v>
                </c:pt>
                <c:pt idx="2758">
                  <c:v>45229</c:v>
                </c:pt>
                <c:pt idx="2759">
                  <c:v>45230</c:v>
                </c:pt>
                <c:pt idx="2760">
                  <c:v>45231</c:v>
                </c:pt>
                <c:pt idx="2761">
                  <c:v>45232</c:v>
                </c:pt>
                <c:pt idx="2762">
                  <c:v>45233</c:v>
                </c:pt>
                <c:pt idx="2763">
                  <c:v>45236</c:v>
                </c:pt>
                <c:pt idx="2764">
                  <c:v>45237</c:v>
                </c:pt>
                <c:pt idx="2765">
                  <c:v>45238</c:v>
                </c:pt>
                <c:pt idx="2766">
                  <c:v>45239</c:v>
                </c:pt>
                <c:pt idx="2767">
                  <c:v>45240</c:v>
                </c:pt>
                <c:pt idx="2768">
                  <c:v>45243</c:v>
                </c:pt>
                <c:pt idx="2769">
                  <c:v>45244</c:v>
                </c:pt>
                <c:pt idx="2770">
                  <c:v>45245</c:v>
                </c:pt>
                <c:pt idx="2771">
                  <c:v>45246</c:v>
                </c:pt>
                <c:pt idx="2772">
                  <c:v>45247</c:v>
                </c:pt>
                <c:pt idx="2773">
                  <c:v>45250</c:v>
                </c:pt>
                <c:pt idx="2774">
                  <c:v>45251</c:v>
                </c:pt>
                <c:pt idx="2775">
                  <c:v>45252</c:v>
                </c:pt>
              </c:numCache>
            </c:numRef>
          </c:cat>
          <c:val>
            <c:numRef>
              <c:f>Sheet1!$K$4:$K$2779</c:f>
              <c:numCache>
                <c:formatCode>_(* #,##0.00_);_(* \(#,##0.00\);_(* "-"??_);_(@_)</c:formatCode>
                <c:ptCount val="2776"/>
                <c:pt idx="0">
                  <c:v>102.85083333333334</c:v>
                </c:pt>
                <c:pt idx="1">
                  <c:v>100.10583333333334</c:v>
                </c:pt>
                <c:pt idx="2">
                  <c:v>98.55616666666667</c:v>
                </c:pt>
                <c:pt idx="3">
                  <c:v>98.589166666666657</c:v>
                </c:pt>
                <c:pt idx="4">
                  <c:v>99.420999999999992</c:v>
                </c:pt>
                <c:pt idx="5">
                  <c:v>100.354</c:v>
                </c:pt>
                <c:pt idx="6">
                  <c:v>101.04616666666668</c:v>
                </c:pt>
                <c:pt idx="7">
                  <c:v>103.84516666666667</c:v>
                </c:pt>
                <c:pt idx="8">
                  <c:v>107.61816666666668</c:v>
                </c:pt>
                <c:pt idx="9">
                  <c:v>106.18266666666666</c:v>
                </c:pt>
                <c:pt idx="10">
                  <c:v>107.57716666666666</c:v>
                </c:pt>
                <c:pt idx="11">
                  <c:v>108.49316666666665</c:v>
                </c:pt>
                <c:pt idx="12">
                  <c:v>107.77266666666667</c:v>
                </c:pt>
                <c:pt idx="13">
                  <c:v>107.0595</c:v>
                </c:pt>
                <c:pt idx="14">
                  <c:v>106.89183333333334</c:v>
                </c:pt>
                <c:pt idx="15">
                  <c:v>106.97066666666667</c:v>
                </c:pt>
                <c:pt idx="16">
                  <c:v>108.7885</c:v>
                </c:pt>
                <c:pt idx="17">
                  <c:v>108.84116666666667</c:v>
                </c:pt>
                <c:pt idx="18">
                  <c:v>108.69466666666666</c:v>
                </c:pt>
                <c:pt idx="19">
                  <c:v>109.32116666666667</c:v>
                </c:pt>
                <c:pt idx="20">
                  <c:v>109.79766666666667</c:v>
                </c:pt>
                <c:pt idx="21">
                  <c:v>114.20516666666668</c:v>
                </c:pt>
                <c:pt idx="22">
                  <c:v>116.11383333333333</c:v>
                </c:pt>
                <c:pt idx="23">
                  <c:v>116.25066666666667</c:v>
                </c:pt>
                <c:pt idx="24">
                  <c:v>117.47783333333331</c:v>
                </c:pt>
                <c:pt idx="25">
                  <c:v>117.20583333333333</c:v>
                </c:pt>
                <c:pt idx="26">
                  <c:v>116.20516666666667</c:v>
                </c:pt>
                <c:pt idx="27">
                  <c:v>116.0175</c:v>
                </c:pt>
                <c:pt idx="28">
                  <c:v>115.49083333333333</c:v>
                </c:pt>
                <c:pt idx="29">
                  <c:v>116.01783333333334</c:v>
                </c:pt>
                <c:pt idx="30">
                  <c:v>115.89383333333335</c:v>
                </c:pt>
                <c:pt idx="31">
                  <c:v>115.57833333333333</c:v>
                </c:pt>
                <c:pt idx="32">
                  <c:v>114.68033333333335</c:v>
                </c:pt>
                <c:pt idx="33">
                  <c:v>114.47233333333334</c:v>
                </c:pt>
                <c:pt idx="34">
                  <c:v>114.77633333333331</c:v>
                </c:pt>
                <c:pt idx="35">
                  <c:v>114.17383333333333</c:v>
                </c:pt>
                <c:pt idx="36">
                  <c:v>112.84483333333334</c:v>
                </c:pt>
                <c:pt idx="37">
                  <c:v>114.38816666666666</c:v>
                </c:pt>
                <c:pt idx="38">
                  <c:v>114.29583333333335</c:v>
                </c:pt>
                <c:pt idx="39">
                  <c:v>114.18716666666667</c:v>
                </c:pt>
                <c:pt idx="40">
                  <c:v>117.35616666666665</c:v>
                </c:pt>
                <c:pt idx="41">
                  <c:v>114.8035</c:v>
                </c:pt>
                <c:pt idx="42">
                  <c:v>115.08066666666666</c:v>
                </c:pt>
                <c:pt idx="43">
                  <c:v>115.15883333333333</c:v>
                </c:pt>
                <c:pt idx="44">
                  <c:v>115.79666666666668</c:v>
                </c:pt>
                <c:pt idx="45">
                  <c:v>113.83200000000001</c:v>
                </c:pt>
                <c:pt idx="46">
                  <c:v>111.42566666666666</c:v>
                </c:pt>
                <c:pt idx="47">
                  <c:v>110.12583333333332</c:v>
                </c:pt>
                <c:pt idx="48">
                  <c:v>108.38233333333334</c:v>
                </c:pt>
                <c:pt idx="49">
                  <c:v>107.354</c:v>
                </c:pt>
                <c:pt idx="50">
                  <c:v>108.17416666666666</c:v>
                </c:pt>
                <c:pt idx="51">
                  <c:v>109.38833333333334</c:v>
                </c:pt>
                <c:pt idx="52">
                  <c:v>109.995</c:v>
                </c:pt>
                <c:pt idx="53">
                  <c:v>109.89450000000001</c:v>
                </c:pt>
                <c:pt idx="54">
                  <c:v>111.69066666666667</c:v>
                </c:pt>
                <c:pt idx="55">
                  <c:v>111.05933333333333</c:v>
                </c:pt>
                <c:pt idx="56">
                  <c:v>114.34283333333332</c:v>
                </c:pt>
                <c:pt idx="57">
                  <c:v>115.70533333333333</c:v>
                </c:pt>
                <c:pt idx="58">
                  <c:v>116.42483333333335</c:v>
                </c:pt>
                <c:pt idx="59">
                  <c:v>115.71533333333333</c:v>
                </c:pt>
                <c:pt idx="60">
                  <c:v>119.33583333333333</c:v>
                </c:pt>
                <c:pt idx="61">
                  <c:v>120.08833333333332</c:v>
                </c:pt>
                <c:pt idx="62">
                  <c:v>121.73433333333332</c:v>
                </c:pt>
                <c:pt idx="63">
                  <c:v>121.61766666666666</c:v>
                </c:pt>
                <c:pt idx="64">
                  <c:v>122.11916666666667</c:v>
                </c:pt>
                <c:pt idx="65">
                  <c:v>121.90466666666667</c:v>
                </c:pt>
                <c:pt idx="66">
                  <c:v>121.57</c:v>
                </c:pt>
                <c:pt idx="67">
                  <c:v>120.00666666666666</c:v>
                </c:pt>
                <c:pt idx="68">
                  <c:v>117.83416666666666</c:v>
                </c:pt>
                <c:pt idx="69">
                  <c:v>115.032</c:v>
                </c:pt>
                <c:pt idx="70">
                  <c:v>113.51566666666666</c:v>
                </c:pt>
                <c:pt idx="71">
                  <c:v>109.79883333333333</c:v>
                </c:pt>
                <c:pt idx="72">
                  <c:v>106.45850000000002</c:v>
                </c:pt>
                <c:pt idx="73">
                  <c:v>106.36149999999999</c:v>
                </c:pt>
                <c:pt idx="74">
                  <c:v>108.35483333333333</c:v>
                </c:pt>
                <c:pt idx="75">
                  <c:v>109.93533333333333</c:v>
                </c:pt>
                <c:pt idx="76">
                  <c:v>109.71599999999999</c:v>
                </c:pt>
                <c:pt idx="77">
                  <c:v>111.96183333333335</c:v>
                </c:pt>
                <c:pt idx="78">
                  <c:v>113.02066666666667</c:v>
                </c:pt>
                <c:pt idx="79">
                  <c:v>112.15216666666667</c:v>
                </c:pt>
                <c:pt idx="80">
                  <c:v>110.67066666666666</c:v>
                </c:pt>
                <c:pt idx="81">
                  <c:v>109.79700000000001</c:v>
                </c:pt>
                <c:pt idx="82">
                  <c:v>109.39700000000001</c:v>
                </c:pt>
                <c:pt idx="83">
                  <c:v>108.62433333333333</c:v>
                </c:pt>
                <c:pt idx="84">
                  <c:v>107.3565</c:v>
                </c:pt>
                <c:pt idx="85">
                  <c:v>104.09566666666666</c:v>
                </c:pt>
                <c:pt idx="86">
                  <c:v>104.139</c:v>
                </c:pt>
                <c:pt idx="87">
                  <c:v>102.42149999999999</c:v>
                </c:pt>
                <c:pt idx="88">
                  <c:v>101.87033333333333</c:v>
                </c:pt>
                <c:pt idx="89">
                  <c:v>100.50666666666666</c:v>
                </c:pt>
                <c:pt idx="90">
                  <c:v>99.103000000000009</c:v>
                </c:pt>
                <c:pt idx="91">
                  <c:v>98.934333333333328</c:v>
                </c:pt>
                <c:pt idx="92">
                  <c:v>98.246500000000012</c:v>
                </c:pt>
                <c:pt idx="93">
                  <c:v>99.685833333333335</c:v>
                </c:pt>
                <c:pt idx="94">
                  <c:v>100.65733333333333</c:v>
                </c:pt>
                <c:pt idx="95">
                  <c:v>102.69033333333334</c:v>
                </c:pt>
                <c:pt idx="96">
                  <c:v>105.72833333333334</c:v>
                </c:pt>
                <c:pt idx="97">
                  <c:v>108.06616666666666</c:v>
                </c:pt>
                <c:pt idx="98">
                  <c:v>109.38033333333334</c:v>
                </c:pt>
                <c:pt idx="99">
                  <c:v>112.42649999999999</c:v>
                </c:pt>
                <c:pt idx="100">
                  <c:v>112.19566666666667</c:v>
                </c:pt>
                <c:pt idx="101">
                  <c:v>112.56966666666665</c:v>
                </c:pt>
                <c:pt idx="102">
                  <c:v>115.72866666666665</c:v>
                </c:pt>
                <c:pt idx="103">
                  <c:v>116.42749999999999</c:v>
                </c:pt>
                <c:pt idx="104">
                  <c:v>118.71516666666668</c:v>
                </c:pt>
                <c:pt idx="105">
                  <c:v>118.096</c:v>
                </c:pt>
                <c:pt idx="106">
                  <c:v>121.29183333333332</c:v>
                </c:pt>
                <c:pt idx="107">
                  <c:v>125.67683333333332</c:v>
                </c:pt>
                <c:pt idx="108">
                  <c:v>127.58800000000001</c:v>
                </c:pt>
                <c:pt idx="109">
                  <c:v>132.79683333333332</c:v>
                </c:pt>
                <c:pt idx="110">
                  <c:v>132.84950000000001</c:v>
                </c:pt>
                <c:pt idx="111">
                  <c:v>136.67916666666667</c:v>
                </c:pt>
                <c:pt idx="112">
                  <c:v>139.46916666666667</c:v>
                </c:pt>
                <c:pt idx="113">
                  <c:v>140.22816666666668</c:v>
                </c:pt>
                <c:pt idx="114">
                  <c:v>148.00399999999999</c:v>
                </c:pt>
                <c:pt idx="115">
                  <c:v>157.78266666666664</c:v>
                </c:pt>
                <c:pt idx="116">
                  <c:v>156.30983333333333</c:v>
                </c:pt>
                <c:pt idx="117">
                  <c:v>147.53116666666668</c:v>
                </c:pt>
                <c:pt idx="118">
                  <c:v>138.71066666666667</c:v>
                </c:pt>
                <c:pt idx="119">
                  <c:v>140.52916666666667</c:v>
                </c:pt>
                <c:pt idx="120">
                  <c:v>145.11550000000003</c:v>
                </c:pt>
                <c:pt idx="121">
                  <c:v>156.08333333333334</c:v>
                </c:pt>
                <c:pt idx="122">
                  <c:v>183.54433333333336</c:v>
                </c:pt>
                <c:pt idx="123">
                  <c:v>182.57783333333336</c:v>
                </c:pt>
                <c:pt idx="124">
                  <c:v>191.83249999999998</c:v>
                </c:pt>
                <c:pt idx="125">
                  <c:v>182.77566666666667</c:v>
                </c:pt>
                <c:pt idx="126">
                  <c:v>170.25933333333333</c:v>
                </c:pt>
                <c:pt idx="127">
                  <c:v>159.63833333333335</c:v>
                </c:pt>
                <c:pt idx="128">
                  <c:v>159.23483333333334</c:v>
                </c:pt>
                <c:pt idx="129">
                  <c:v>158.1361666666667</c:v>
                </c:pt>
                <c:pt idx="130">
                  <c:v>159.07283333333334</c:v>
                </c:pt>
                <c:pt idx="131">
                  <c:v>168.95983333333334</c:v>
                </c:pt>
                <c:pt idx="132">
                  <c:v>169.75916666666669</c:v>
                </c:pt>
                <c:pt idx="133">
                  <c:v>170.37983333333332</c:v>
                </c:pt>
                <c:pt idx="134">
                  <c:v>171.93083333333334</c:v>
                </c:pt>
                <c:pt idx="135">
                  <c:v>167.53666666666669</c:v>
                </c:pt>
                <c:pt idx="136">
                  <c:v>166.95833333333334</c:v>
                </c:pt>
                <c:pt idx="137">
                  <c:v>163.88466666666667</c:v>
                </c:pt>
                <c:pt idx="138">
                  <c:v>161.40033333333332</c:v>
                </c:pt>
                <c:pt idx="139">
                  <c:v>155.52149999999997</c:v>
                </c:pt>
                <c:pt idx="140">
                  <c:v>154.333</c:v>
                </c:pt>
                <c:pt idx="141">
                  <c:v>152.97583333333333</c:v>
                </c:pt>
                <c:pt idx="142">
                  <c:v>150.09483333333336</c:v>
                </c:pt>
                <c:pt idx="143">
                  <c:v>150.52599999999998</c:v>
                </c:pt>
                <c:pt idx="144">
                  <c:v>150.49666666666664</c:v>
                </c:pt>
                <c:pt idx="145">
                  <c:v>145.755</c:v>
                </c:pt>
                <c:pt idx="146">
                  <c:v>150.72566666666668</c:v>
                </c:pt>
                <c:pt idx="147">
                  <c:v>151.85383333333334</c:v>
                </c:pt>
                <c:pt idx="148">
                  <c:v>153.864</c:v>
                </c:pt>
                <c:pt idx="149">
                  <c:v>157.39033333333336</c:v>
                </c:pt>
                <c:pt idx="150">
                  <c:v>157.53166666666667</c:v>
                </c:pt>
                <c:pt idx="151">
                  <c:v>158.92983333333333</c:v>
                </c:pt>
                <c:pt idx="152">
                  <c:v>159.88966666666667</c:v>
                </c:pt>
                <c:pt idx="153">
                  <c:v>157.54133333333334</c:v>
                </c:pt>
                <c:pt idx="154">
                  <c:v>160.2225</c:v>
                </c:pt>
                <c:pt idx="155">
                  <c:v>159.76866666666663</c:v>
                </c:pt>
                <c:pt idx="156">
                  <c:v>162.34016666666668</c:v>
                </c:pt>
                <c:pt idx="157">
                  <c:v>163.23599999999999</c:v>
                </c:pt>
                <c:pt idx="158">
                  <c:v>161.56533333333334</c:v>
                </c:pt>
                <c:pt idx="159">
                  <c:v>160.66549999999998</c:v>
                </c:pt>
                <c:pt idx="160">
                  <c:v>156.41849999999999</c:v>
                </c:pt>
                <c:pt idx="161">
                  <c:v>157.66200000000001</c:v>
                </c:pt>
                <c:pt idx="162">
                  <c:v>161.97916666666666</c:v>
                </c:pt>
                <c:pt idx="163">
                  <c:v>165.12249999999997</c:v>
                </c:pt>
                <c:pt idx="164">
                  <c:v>181.381</c:v>
                </c:pt>
                <c:pt idx="165">
                  <c:v>185.16566666666665</c:v>
                </c:pt>
                <c:pt idx="166">
                  <c:v>188.40949999999998</c:v>
                </c:pt>
                <c:pt idx="167">
                  <c:v>191.68100000000001</c:v>
                </c:pt>
                <c:pt idx="168">
                  <c:v>184.32433333333333</c:v>
                </c:pt>
                <c:pt idx="169">
                  <c:v>183.79349999999999</c:v>
                </c:pt>
                <c:pt idx="170">
                  <c:v>186.46266666666665</c:v>
                </c:pt>
                <c:pt idx="171">
                  <c:v>185.55033333333333</c:v>
                </c:pt>
                <c:pt idx="172">
                  <c:v>185.25283333333334</c:v>
                </c:pt>
                <c:pt idx="173">
                  <c:v>186.45399999999998</c:v>
                </c:pt>
                <c:pt idx="174">
                  <c:v>186.34366666666668</c:v>
                </c:pt>
                <c:pt idx="175">
                  <c:v>186.23016666666669</c:v>
                </c:pt>
                <c:pt idx="176">
                  <c:v>183.91816666666668</c:v>
                </c:pt>
                <c:pt idx="177">
                  <c:v>182.39566666666667</c:v>
                </c:pt>
                <c:pt idx="178">
                  <c:v>179.91233333333335</c:v>
                </c:pt>
                <c:pt idx="179">
                  <c:v>177.68066666666667</c:v>
                </c:pt>
                <c:pt idx="180">
                  <c:v>172.34633333333332</c:v>
                </c:pt>
                <c:pt idx="181">
                  <c:v>168.7355</c:v>
                </c:pt>
                <c:pt idx="182">
                  <c:v>166.02516666666668</c:v>
                </c:pt>
                <c:pt idx="183">
                  <c:v>165.96783333333335</c:v>
                </c:pt>
                <c:pt idx="184">
                  <c:v>162.38466666666667</c:v>
                </c:pt>
                <c:pt idx="185">
                  <c:v>161.09566666666669</c:v>
                </c:pt>
                <c:pt idx="186">
                  <c:v>156.33483333333334</c:v>
                </c:pt>
                <c:pt idx="187">
                  <c:v>147.22733333333335</c:v>
                </c:pt>
                <c:pt idx="188">
                  <c:v>154.29533333333333</c:v>
                </c:pt>
                <c:pt idx="189">
                  <c:v>155.048</c:v>
                </c:pt>
                <c:pt idx="190">
                  <c:v>156.43100000000001</c:v>
                </c:pt>
                <c:pt idx="191">
                  <c:v>155.76916666666668</c:v>
                </c:pt>
                <c:pt idx="192">
                  <c:v>158.02166666666668</c:v>
                </c:pt>
                <c:pt idx="193">
                  <c:v>136.88833333333332</c:v>
                </c:pt>
                <c:pt idx="194">
                  <c:v>138.107</c:v>
                </c:pt>
                <c:pt idx="195">
                  <c:v>139.5575</c:v>
                </c:pt>
                <c:pt idx="196">
                  <c:v>138.30333333333331</c:v>
                </c:pt>
                <c:pt idx="197">
                  <c:v>138.32966666666664</c:v>
                </c:pt>
                <c:pt idx="198">
                  <c:v>145.08633333333333</c:v>
                </c:pt>
                <c:pt idx="199">
                  <c:v>149.62199999999999</c:v>
                </c:pt>
                <c:pt idx="200">
                  <c:v>151.13283333333334</c:v>
                </c:pt>
                <c:pt idx="201">
                  <c:v>153.91933333333333</c:v>
                </c:pt>
                <c:pt idx="202">
                  <c:v>153.96399999999997</c:v>
                </c:pt>
                <c:pt idx="203">
                  <c:v>158.61066666666667</c:v>
                </c:pt>
                <c:pt idx="204">
                  <c:v>161.60616666666667</c:v>
                </c:pt>
                <c:pt idx="205">
                  <c:v>165.07916666666665</c:v>
                </c:pt>
                <c:pt idx="206">
                  <c:v>163.64199999999997</c:v>
                </c:pt>
                <c:pt idx="207">
                  <c:v>156.83433333333335</c:v>
                </c:pt>
                <c:pt idx="208">
                  <c:v>151.6095</c:v>
                </c:pt>
                <c:pt idx="209">
                  <c:v>144.87333333333333</c:v>
                </c:pt>
                <c:pt idx="210">
                  <c:v>149.37833333333333</c:v>
                </c:pt>
                <c:pt idx="211">
                  <c:v>151.03349999999998</c:v>
                </c:pt>
                <c:pt idx="212">
                  <c:v>152.94516666666667</c:v>
                </c:pt>
                <c:pt idx="213">
                  <c:v>149.95016666666666</c:v>
                </c:pt>
                <c:pt idx="214">
                  <c:v>149.625</c:v>
                </c:pt>
                <c:pt idx="215">
                  <c:v>153.87233333333333</c:v>
                </c:pt>
                <c:pt idx="216">
                  <c:v>157.12366666666665</c:v>
                </c:pt>
                <c:pt idx="217">
                  <c:v>157.19183333333334</c:v>
                </c:pt>
                <c:pt idx="218">
                  <c:v>157.02416666666667</c:v>
                </c:pt>
                <c:pt idx="219">
                  <c:v>158.47816666666668</c:v>
                </c:pt>
                <c:pt idx="220">
                  <c:v>161.19649999999999</c:v>
                </c:pt>
                <c:pt idx="221">
                  <c:v>162.60316666666668</c:v>
                </c:pt>
                <c:pt idx="222">
                  <c:v>159.02433333333332</c:v>
                </c:pt>
                <c:pt idx="223">
                  <c:v>152.23566666666667</c:v>
                </c:pt>
                <c:pt idx="224">
                  <c:v>148.18566666666666</c:v>
                </c:pt>
                <c:pt idx="225">
                  <c:v>144.59983333333332</c:v>
                </c:pt>
                <c:pt idx="226">
                  <c:v>144.5275</c:v>
                </c:pt>
                <c:pt idx="227">
                  <c:v>143.53333333333333</c:v>
                </c:pt>
                <c:pt idx="228">
                  <c:v>143.02850000000001</c:v>
                </c:pt>
                <c:pt idx="229">
                  <c:v>142.84483333333333</c:v>
                </c:pt>
                <c:pt idx="230">
                  <c:v>144.78149999999999</c:v>
                </c:pt>
                <c:pt idx="231">
                  <c:v>143.14000000000001</c:v>
                </c:pt>
                <c:pt idx="232">
                  <c:v>141.46883333333332</c:v>
                </c:pt>
                <c:pt idx="233">
                  <c:v>147.69916666666668</c:v>
                </c:pt>
                <c:pt idx="234">
                  <c:v>148.63650000000001</c:v>
                </c:pt>
                <c:pt idx="235">
                  <c:v>148.65666666666667</c:v>
                </c:pt>
                <c:pt idx="236">
                  <c:v>148.60983333333334</c:v>
                </c:pt>
                <c:pt idx="237">
                  <c:v>148.70366666666666</c:v>
                </c:pt>
                <c:pt idx="238">
                  <c:v>150.5925</c:v>
                </c:pt>
                <c:pt idx="239">
                  <c:v>152.92833333333331</c:v>
                </c:pt>
                <c:pt idx="240">
                  <c:v>152.5395</c:v>
                </c:pt>
                <c:pt idx="241">
                  <c:v>152.70700000000002</c:v>
                </c:pt>
                <c:pt idx="242">
                  <c:v>155.07816666666668</c:v>
                </c:pt>
                <c:pt idx="243">
                  <c:v>153.95483333333331</c:v>
                </c:pt>
                <c:pt idx="244">
                  <c:v>154.80516666666668</c:v>
                </c:pt>
                <c:pt idx="245">
                  <c:v>153.6693333333333</c:v>
                </c:pt>
                <c:pt idx="246">
                  <c:v>153.977</c:v>
                </c:pt>
                <c:pt idx="247">
                  <c:v>154.96299999999999</c:v>
                </c:pt>
                <c:pt idx="248">
                  <c:v>152.40616666666668</c:v>
                </c:pt>
                <c:pt idx="249">
                  <c:v>151.78066666666666</c:v>
                </c:pt>
                <c:pt idx="250">
                  <c:v>153.54400000000001</c:v>
                </c:pt>
                <c:pt idx="251">
                  <c:v>152.47633333333332</c:v>
                </c:pt>
                <c:pt idx="252">
                  <c:v>152.05633333333336</c:v>
                </c:pt>
                <c:pt idx="253">
                  <c:v>152.79766666666666</c:v>
                </c:pt>
                <c:pt idx="254">
                  <c:v>153.98633333333333</c:v>
                </c:pt>
                <c:pt idx="255">
                  <c:v>153.53366666666668</c:v>
                </c:pt>
                <c:pt idx="256">
                  <c:v>154.16816666666668</c:v>
                </c:pt>
                <c:pt idx="257">
                  <c:v>158.95383333333334</c:v>
                </c:pt>
                <c:pt idx="258">
                  <c:v>166.38133333333334</c:v>
                </c:pt>
                <c:pt idx="259">
                  <c:v>165.24933333333334</c:v>
                </c:pt>
                <c:pt idx="260">
                  <c:v>158.66916666666665</c:v>
                </c:pt>
                <c:pt idx="261">
                  <c:v>162.47399999999999</c:v>
                </c:pt>
                <c:pt idx="262">
                  <c:v>164.05533333333332</c:v>
                </c:pt>
                <c:pt idx="263">
                  <c:v>164.65016666666668</c:v>
                </c:pt>
                <c:pt idx="264">
                  <c:v>168.25583333333333</c:v>
                </c:pt>
                <c:pt idx="265">
                  <c:v>163.148</c:v>
                </c:pt>
                <c:pt idx="266">
                  <c:v>158.93916666666667</c:v>
                </c:pt>
                <c:pt idx="267">
                  <c:v>153.82366666666664</c:v>
                </c:pt>
                <c:pt idx="268">
                  <c:v>153.18433333333334</c:v>
                </c:pt>
                <c:pt idx="269">
                  <c:v>155.34950000000001</c:v>
                </c:pt>
                <c:pt idx="270">
                  <c:v>151.50800000000001</c:v>
                </c:pt>
                <c:pt idx="271">
                  <c:v>152.30833333333331</c:v>
                </c:pt>
                <c:pt idx="272">
                  <c:v>154.48933333333335</c:v>
                </c:pt>
                <c:pt idx="273">
                  <c:v>151.22616666666667</c:v>
                </c:pt>
                <c:pt idx="274">
                  <c:v>149.03516666666667</c:v>
                </c:pt>
                <c:pt idx="275">
                  <c:v>149.90983333333335</c:v>
                </c:pt>
                <c:pt idx="276">
                  <c:v>150.97466666666668</c:v>
                </c:pt>
                <c:pt idx="277">
                  <c:v>148.52916666666667</c:v>
                </c:pt>
                <c:pt idx="278">
                  <c:v>146.54933333333335</c:v>
                </c:pt>
                <c:pt idx="279">
                  <c:v>142.43550000000002</c:v>
                </c:pt>
                <c:pt idx="280">
                  <c:v>141.21433333333331</c:v>
                </c:pt>
                <c:pt idx="281">
                  <c:v>143.09450000000001</c:v>
                </c:pt>
                <c:pt idx="282">
                  <c:v>141.42033333333333</c:v>
                </c:pt>
                <c:pt idx="283">
                  <c:v>138.27683333333334</c:v>
                </c:pt>
                <c:pt idx="284">
                  <c:v>141.4845</c:v>
                </c:pt>
                <c:pt idx="285">
                  <c:v>137.27933333333331</c:v>
                </c:pt>
                <c:pt idx="286">
                  <c:v>134.49616666666665</c:v>
                </c:pt>
                <c:pt idx="287">
                  <c:v>132.02616666666668</c:v>
                </c:pt>
                <c:pt idx="288">
                  <c:v>133.38250000000002</c:v>
                </c:pt>
                <c:pt idx="289">
                  <c:v>135.95933333333335</c:v>
                </c:pt>
                <c:pt idx="290">
                  <c:v>138.5215</c:v>
                </c:pt>
                <c:pt idx="291">
                  <c:v>142.02500000000001</c:v>
                </c:pt>
                <c:pt idx="292">
                  <c:v>142.61199999999999</c:v>
                </c:pt>
                <c:pt idx="293">
                  <c:v>142.94933333333333</c:v>
                </c:pt>
                <c:pt idx="294">
                  <c:v>139.88749999999999</c:v>
                </c:pt>
                <c:pt idx="295">
                  <c:v>135.96283333333335</c:v>
                </c:pt>
                <c:pt idx="296">
                  <c:v>135.84100000000001</c:v>
                </c:pt>
                <c:pt idx="297">
                  <c:v>143.11150000000001</c:v>
                </c:pt>
                <c:pt idx="298">
                  <c:v>143.22333333333333</c:v>
                </c:pt>
                <c:pt idx="299">
                  <c:v>141.58166666666668</c:v>
                </c:pt>
                <c:pt idx="300">
                  <c:v>137.834</c:v>
                </c:pt>
                <c:pt idx="301">
                  <c:v>135.4073333333333</c:v>
                </c:pt>
                <c:pt idx="302">
                  <c:v>134.7235</c:v>
                </c:pt>
                <c:pt idx="303">
                  <c:v>135.06449999999998</c:v>
                </c:pt>
                <c:pt idx="304">
                  <c:v>134.53049999999999</c:v>
                </c:pt>
                <c:pt idx="305">
                  <c:v>132.01816666666667</c:v>
                </c:pt>
                <c:pt idx="306">
                  <c:v>131.93966666666665</c:v>
                </c:pt>
                <c:pt idx="307">
                  <c:v>134.27216666666666</c:v>
                </c:pt>
                <c:pt idx="308">
                  <c:v>132.63850000000002</c:v>
                </c:pt>
                <c:pt idx="309">
                  <c:v>130.46850000000001</c:v>
                </c:pt>
                <c:pt idx="310">
                  <c:v>130.83166666666668</c:v>
                </c:pt>
                <c:pt idx="311">
                  <c:v>129.72466666666668</c:v>
                </c:pt>
                <c:pt idx="312">
                  <c:v>127.57066666666667</c:v>
                </c:pt>
                <c:pt idx="313">
                  <c:v>129.85433333333333</c:v>
                </c:pt>
                <c:pt idx="314">
                  <c:v>130.48949999999999</c:v>
                </c:pt>
                <c:pt idx="315">
                  <c:v>130.58083333333335</c:v>
                </c:pt>
                <c:pt idx="316">
                  <c:v>128.54066666666665</c:v>
                </c:pt>
                <c:pt idx="317">
                  <c:v>128.57233333333335</c:v>
                </c:pt>
                <c:pt idx="318">
                  <c:v>128.74083333333334</c:v>
                </c:pt>
                <c:pt idx="319">
                  <c:v>127.78633333333335</c:v>
                </c:pt>
                <c:pt idx="320">
                  <c:v>127.265</c:v>
                </c:pt>
                <c:pt idx="321">
                  <c:v>128.39883333333333</c:v>
                </c:pt>
                <c:pt idx="322">
                  <c:v>129.41783333333333</c:v>
                </c:pt>
                <c:pt idx="323">
                  <c:v>131.869</c:v>
                </c:pt>
                <c:pt idx="324">
                  <c:v>131.65733333333333</c:v>
                </c:pt>
                <c:pt idx="325">
                  <c:v>130.05083333333334</c:v>
                </c:pt>
                <c:pt idx="326">
                  <c:v>127.8125</c:v>
                </c:pt>
                <c:pt idx="327">
                  <c:v>127.4375</c:v>
                </c:pt>
                <c:pt idx="328">
                  <c:v>126.39483333333332</c:v>
                </c:pt>
                <c:pt idx="329">
                  <c:v>125.72916666666664</c:v>
                </c:pt>
                <c:pt idx="330">
                  <c:v>125.15750000000001</c:v>
                </c:pt>
                <c:pt idx="331">
                  <c:v>123.06316666666665</c:v>
                </c:pt>
                <c:pt idx="332">
                  <c:v>121.11983333333332</c:v>
                </c:pt>
                <c:pt idx="333">
                  <c:v>121.80583333333334</c:v>
                </c:pt>
                <c:pt idx="334">
                  <c:v>121.99033333333334</c:v>
                </c:pt>
                <c:pt idx="335">
                  <c:v>119.81466666666667</c:v>
                </c:pt>
                <c:pt idx="336">
                  <c:v>118.986</c:v>
                </c:pt>
                <c:pt idx="337">
                  <c:v>121.50816666666667</c:v>
                </c:pt>
                <c:pt idx="338">
                  <c:v>122.18583333333333</c:v>
                </c:pt>
                <c:pt idx="339">
                  <c:v>121.6995</c:v>
                </c:pt>
                <c:pt idx="340">
                  <c:v>123.40916666666665</c:v>
                </c:pt>
                <c:pt idx="341">
                  <c:v>124.10716666666667</c:v>
                </c:pt>
                <c:pt idx="342">
                  <c:v>123.26</c:v>
                </c:pt>
                <c:pt idx="343">
                  <c:v>120.39499999999998</c:v>
                </c:pt>
                <c:pt idx="344">
                  <c:v>119.54</c:v>
                </c:pt>
                <c:pt idx="345">
                  <c:v>119.02466666666668</c:v>
                </c:pt>
                <c:pt idx="346">
                  <c:v>117.31433333333335</c:v>
                </c:pt>
                <c:pt idx="347">
                  <c:v>114.91483333333333</c:v>
                </c:pt>
                <c:pt idx="348">
                  <c:v>114.17283333333334</c:v>
                </c:pt>
                <c:pt idx="349">
                  <c:v>115.93683333333331</c:v>
                </c:pt>
                <c:pt idx="350">
                  <c:v>116.70066666666666</c:v>
                </c:pt>
                <c:pt idx="351">
                  <c:v>120.31483333333334</c:v>
                </c:pt>
                <c:pt idx="352">
                  <c:v>118.00183333333332</c:v>
                </c:pt>
                <c:pt idx="353">
                  <c:v>109.84899999999999</c:v>
                </c:pt>
                <c:pt idx="354">
                  <c:v>109.08549999999998</c:v>
                </c:pt>
                <c:pt idx="355">
                  <c:v>111.63366666666667</c:v>
                </c:pt>
                <c:pt idx="356">
                  <c:v>113.08816666666668</c:v>
                </c:pt>
                <c:pt idx="357">
                  <c:v>114.07183333333334</c:v>
                </c:pt>
                <c:pt idx="358">
                  <c:v>114.43383333333334</c:v>
                </c:pt>
                <c:pt idx="359">
                  <c:v>114.46316666666667</c:v>
                </c:pt>
                <c:pt idx="360">
                  <c:v>114.78466666666668</c:v>
                </c:pt>
                <c:pt idx="361">
                  <c:v>113.42466666666665</c:v>
                </c:pt>
                <c:pt idx="362">
                  <c:v>111.82933333333334</c:v>
                </c:pt>
                <c:pt idx="363">
                  <c:v>114.50966666666666</c:v>
                </c:pt>
                <c:pt idx="364">
                  <c:v>114.56483333333334</c:v>
                </c:pt>
                <c:pt idx="365">
                  <c:v>114.18966666666667</c:v>
                </c:pt>
                <c:pt idx="366">
                  <c:v>114.27749999999999</c:v>
                </c:pt>
                <c:pt idx="367">
                  <c:v>113.004</c:v>
                </c:pt>
                <c:pt idx="368">
                  <c:v>115.04333333333334</c:v>
                </c:pt>
                <c:pt idx="369">
                  <c:v>116.56700000000001</c:v>
                </c:pt>
                <c:pt idx="370">
                  <c:v>115.48466666666667</c:v>
                </c:pt>
                <c:pt idx="371">
                  <c:v>116.1705</c:v>
                </c:pt>
                <c:pt idx="372">
                  <c:v>116.69583333333333</c:v>
                </c:pt>
                <c:pt idx="373">
                  <c:v>116.06266666666669</c:v>
                </c:pt>
                <c:pt idx="374">
                  <c:v>116.22700000000002</c:v>
                </c:pt>
                <c:pt idx="375">
                  <c:v>115.878</c:v>
                </c:pt>
                <c:pt idx="376">
                  <c:v>114.36666666666667</c:v>
                </c:pt>
                <c:pt idx="377">
                  <c:v>116.06516666666668</c:v>
                </c:pt>
                <c:pt idx="378">
                  <c:v>116.74016666666667</c:v>
                </c:pt>
                <c:pt idx="379">
                  <c:v>117.37</c:v>
                </c:pt>
                <c:pt idx="380">
                  <c:v>118.4665</c:v>
                </c:pt>
                <c:pt idx="381">
                  <c:v>118.67666666666668</c:v>
                </c:pt>
                <c:pt idx="382">
                  <c:v>120.44566666666667</c:v>
                </c:pt>
                <c:pt idx="383">
                  <c:v>119.44783333333334</c:v>
                </c:pt>
                <c:pt idx="384">
                  <c:v>118.40783333333333</c:v>
                </c:pt>
                <c:pt idx="385">
                  <c:v>114.759</c:v>
                </c:pt>
                <c:pt idx="386">
                  <c:v>113.46316666666667</c:v>
                </c:pt>
                <c:pt idx="387">
                  <c:v>112.56616666666667</c:v>
                </c:pt>
                <c:pt idx="388">
                  <c:v>114.229</c:v>
                </c:pt>
                <c:pt idx="389">
                  <c:v>117.82066666666667</c:v>
                </c:pt>
                <c:pt idx="390">
                  <c:v>117.69983333333334</c:v>
                </c:pt>
                <c:pt idx="391">
                  <c:v>118.93149999999999</c:v>
                </c:pt>
                <c:pt idx="392">
                  <c:v>123.59583333333335</c:v>
                </c:pt>
                <c:pt idx="393">
                  <c:v>126.52316666666667</c:v>
                </c:pt>
                <c:pt idx="394">
                  <c:v>124.09733333333332</c:v>
                </c:pt>
                <c:pt idx="395">
                  <c:v>126.35316666666667</c:v>
                </c:pt>
                <c:pt idx="396">
                  <c:v>128.53116666666665</c:v>
                </c:pt>
                <c:pt idx="397">
                  <c:v>130.27333333333334</c:v>
                </c:pt>
                <c:pt idx="398">
                  <c:v>131.00199999999998</c:v>
                </c:pt>
                <c:pt idx="399">
                  <c:v>126.19316666666667</c:v>
                </c:pt>
                <c:pt idx="400">
                  <c:v>123.39116666666666</c:v>
                </c:pt>
                <c:pt idx="401">
                  <c:v>120.97000000000001</c:v>
                </c:pt>
                <c:pt idx="402">
                  <c:v>117.39150000000001</c:v>
                </c:pt>
                <c:pt idx="403">
                  <c:v>117.16116666666666</c:v>
                </c:pt>
                <c:pt idx="404">
                  <c:v>115.0235</c:v>
                </c:pt>
                <c:pt idx="405">
                  <c:v>111.41500000000001</c:v>
                </c:pt>
                <c:pt idx="406">
                  <c:v>113.34699999999998</c:v>
                </c:pt>
                <c:pt idx="407">
                  <c:v>111.27999999999999</c:v>
                </c:pt>
                <c:pt idx="408">
                  <c:v>111.38500000000001</c:v>
                </c:pt>
                <c:pt idx="409">
                  <c:v>110.33049999999999</c:v>
                </c:pt>
                <c:pt idx="410">
                  <c:v>109.16066666666667</c:v>
                </c:pt>
                <c:pt idx="411">
                  <c:v>106.16783333333335</c:v>
                </c:pt>
                <c:pt idx="412">
                  <c:v>107.63349999999998</c:v>
                </c:pt>
                <c:pt idx="413">
                  <c:v>106.026</c:v>
                </c:pt>
                <c:pt idx="414">
                  <c:v>105.68933333333332</c:v>
                </c:pt>
                <c:pt idx="415">
                  <c:v>104.87433333333333</c:v>
                </c:pt>
                <c:pt idx="416">
                  <c:v>103.25850000000001</c:v>
                </c:pt>
                <c:pt idx="417">
                  <c:v>104.23899999999999</c:v>
                </c:pt>
                <c:pt idx="418">
                  <c:v>104.22116666666666</c:v>
                </c:pt>
                <c:pt idx="419">
                  <c:v>105.55199999999998</c:v>
                </c:pt>
                <c:pt idx="420">
                  <c:v>109.5595</c:v>
                </c:pt>
                <c:pt idx="421">
                  <c:v>110.71183333333335</c:v>
                </c:pt>
                <c:pt idx="422">
                  <c:v>110.27033333333334</c:v>
                </c:pt>
                <c:pt idx="423">
                  <c:v>112.22433333333333</c:v>
                </c:pt>
                <c:pt idx="424">
                  <c:v>115.60983333333336</c:v>
                </c:pt>
                <c:pt idx="425">
                  <c:v>113.89233333333334</c:v>
                </c:pt>
                <c:pt idx="426">
                  <c:v>111.68233333333335</c:v>
                </c:pt>
                <c:pt idx="427">
                  <c:v>111.58466666666668</c:v>
                </c:pt>
                <c:pt idx="428">
                  <c:v>111.25450000000001</c:v>
                </c:pt>
                <c:pt idx="429">
                  <c:v>121.11099999999999</c:v>
                </c:pt>
                <c:pt idx="430">
                  <c:v>121.55733333333335</c:v>
                </c:pt>
                <c:pt idx="431">
                  <c:v>120.19783333333332</c:v>
                </c:pt>
                <c:pt idx="432">
                  <c:v>122.39766666666667</c:v>
                </c:pt>
                <c:pt idx="433">
                  <c:v>126.17533333333334</c:v>
                </c:pt>
                <c:pt idx="434">
                  <c:v>133.93866666666668</c:v>
                </c:pt>
                <c:pt idx="435">
                  <c:v>131.56199999999998</c:v>
                </c:pt>
                <c:pt idx="436">
                  <c:v>132.36816666666667</c:v>
                </c:pt>
                <c:pt idx="437">
                  <c:v>133.96700000000001</c:v>
                </c:pt>
                <c:pt idx="438">
                  <c:v>132.28283333333334</c:v>
                </c:pt>
                <c:pt idx="439">
                  <c:v>127.14683333333335</c:v>
                </c:pt>
                <c:pt idx="440">
                  <c:v>127.33283333333334</c:v>
                </c:pt>
                <c:pt idx="441">
                  <c:v>127.39083333333333</c:v>
                </c:pt>
                <c:pt idx="442">
                  <c:v>126.39866666666667</c:v>
                </c:pt>
                <c:pt idx="443">
                  <c:v>129.91533333333334</c:v>
                </c:pt>
                <c:pt idx="444">
                  <c:v>130.38966666666667</c:v>
                </c:pt>
                <c:pt idx="445">
                  <c:v>129.94216666666668</c:v>
                </c:pt>
                <c:pt idx="446">
                  <c:v>133.99549999999999</c:v>
                </c:pt>
                <c:pt idx="447">
                  <c:v>134.80249999999998</c:v>
                </c:pt>
                <c:pt idx="448">
                  <c:v>128.59483333333333</c:v>
                </c:pt>
                <c:pt idx="449">
                  <c:v>124.77833333333332</c:v>
                </c:pt>
                <c:pt idx="450">
                  <c:v>124.16083333333334</c:v>
                </c:pt>
                <c:pt idx="451">
                  <c:v>125.05166666666668</c:v>
                </c:pt>
                <c:pt idx="452">
                  <c:v>126.54533333333335</c:v>
                </c:pt>
                <c:pt idx="453">
                  <c:v>124.66550000000001</c:v>
                </c:pt>
                <c:pt idx="454">
                  <c:v>123.13699999999999</c:v>
                </c:pt>
                <c:pt idx="455">
                  <c:v>120.22999999999998</c:v>
                </c:pt>
                <c:pt idx="456">
                  <c:v>118.9615</c:v>
                </c:pt>
                <c:pt idx="457">
                  <c:v>117.75150000000001</c:v>
                </c:pt>
                <c:pt idx="458">
                  <c:v>115.74433333333333</c:v>
                </c:pt>
                <c:pt idx="459">
                  <c:v>117.61433333333332</c:v>
                </c:pt>
                <c:pt idx="460">
                  <c:v>118.88783333333333</c:v>
                </c:pt>
                <c:pt idx="461">
                  <c:v>119.90433333333334</c:v>
                </c:pt>
                <c:pt idx="462">
                  <c:v>120.61450000000001</c:v>
                </c:pt>
                <c:pt idx="463">
                  <c:v>123.47216666666667</c:v>
                </c:pt>
                <c:pt idx="464">
                  <c:v>122.69316666666664</c:v>
                </c:pt>
                <c:pt idx="465">
                  <c:v>121.37349999999999</c:v>
                </c:pt>
                <c:pt idx="466">
                  <c:v>123.10200000000002</c:v>
                </c:pt>
                <c:pt idx="467">
                  <c:v>123.4415</c:v>
                </c:pt>
                <c:pt idx="468">
                  <c:v>124.77316666666665</c:v>
                </c:pt>
                <c:pt idx="469">
                  <c:v>126.21883333333335</c:v>
                </c:pt>
                <c:pt idx="470">
                  <c:v>124.334</c:v>
                </c:pt>
                <c:pt idx="471">
                  <c:v>123.3365</c:v>
                </c:pt>
                <c:pt idx="472">
                  <c:v>123.86349999999999</c:v>
                </c:pt>
                <c:pt idx="473">
                  <c:v>120.64383333333332</c:v>
                </c:pt>
                <c:pt idx="474">
                  <c:v>120.24683333333333</c:v>
                </c:pt>
                <c:pt idx="475">
                  <c:v>117.35316666666667</c:v>
                </c:pt>
                <c:pt idx="476">
                  <c:v>116.44233333333334</c:v>
                </c:pt>
                <c:pt idx="477">
                  <c:v>115.49783333333333</c:v>
                </c:pt>
                <c:pt idx="478">
                  <c:v>115.25</c:v>
                </c:pt>
                <c:pt idx="479">
                  <c:v>118.99466666666665</c:v>
                </c:pt>
                <c:pt idx="480">
                  <c:v>118.04316666666666</c:v>
                </c:pt>
                <c:pt idx="481">
                  <c:v>116.20183333333334</c:v>
                </c:pt>
                <c:pt idx="482">
                  <c:v>117.09666666666668</c:v>
                </c:pt>
                <c:pt idx="483">
                  <c:v>119.913</c:v>
                </c:pt>
                <c:pt idx="484">
                  <c:v>124.7115</c:v>
                </c:pt>
                <c:pt idx="485">
                  <c:v>129.21383333333333</c:v>
                </c:pt>
                <c:pt idx="486">
                  <c:v>134.69450000000001</c:v>
                </c:pt>
                <c:pt idx="487">
                  <c:v>137.0036666666667</c:v>
                </c:pt>
                <c:pt idx="488">
                  <c:v>150.01983333333337</c:v>
                </c:pt>
                <c:pt idx="489">
                  <c:v>160.97266666666667</c:v>
                </c:pt>
                <c:pt idx="490">
                  <c:v>165.14849999999998</c:v>
                </c:pt>
                <c:pt idx="491">
                  <c:v>153.84633333333332</c:v>
                </c:pt>
                <c:pt idx="492">
                  <c:v>149.4075</c:v>
                </c:pt>
                <c:pt idx="493">
                  <c:v>143.203</c:v>
                </c:pt>
                <c:pt idx="494">
                  <c:v>141.43883333333332</c:v>
                </c:pt>
                <c:pt idx="495">
                  <c:v>140.76416666666665</c:v>
                </c:pt>
                <c:pt idx="496">
                  <c:v>141.29783333333333</c:v>
                </c:pt>
                <c:pt idx="497">
                  <c:v>141.13766666666666</c:v>
                </c:pt>
                <c:pt idx="498">
                  <c:v>140.33083333333335</c:v>
                </c:pt>
                <c:pt idx="499">
                  <c:v>141.53916666666666</c:v>
                </c:pt>
                <c:pt idx="500">
                  <c:v>144.69783333333334</c:v>
                </c:pt>
                <c:pt idx="501">
                  <c:v>142.86333333333332</c:v>
                </c:pt>
                <c:pt idx="502">
                  <c:v>142.84116666666668</c:v>
                </c:pt>
                <c:pt idx="503">
                  <c:v>145.23216666666664</c:v>
                </c:pt>
                <c:pt idx="504">
                  <c:v>154.47749999999999</c:v>
                </c:pt>
                <c:pt idx="505">
                  <c:v>161.03166666666667</c:v>
                </c:pt>
                <c:pt idx="506">
                  <c:v>157.04283333333333</c:v>
                </c:pt>
                <c:pt idx="507">
                  <c:v>152.82583333333332</c:v>
                </c:pt>
                <c:pt idx="508">
                  <c:v>154.45933333333335</c:v>
                </c:pt>
                <c:pt idx="509">
                  <c:v>156.95683333333332</c:v>
                </c:pt>
                <c:pt idx="510">
                  <c:v>158.35616666666667</c:v>
                </c:pt>
                <c:pt idx="511">
                  <c:v>155.56949999999998</c:v>
                </c:pt>
                <c:pt idx="512">
                  <c:v>157.45233333333334</c:v>
                </c:pt>
                <c:pt idx="513">
                  <c:v>159.601</c:v>
                </c:pt>
                <c:pt idx="514">
                  <c:v>159.04583333333335</c:v>
                </c:pt>
                <c:pt idx="515">
                  <c:v>158.34900000000002</c:v>
                </c:pt>
                <c:pt idx="516">
                  <c:v>157.23916666666665</c:v>
                </c:pt>
                <c:pt idx="517">
                  <c:v>152.49683333333331</c:v>
                </c:pt>
                <c:pt idx="518">
                  <c:v>147.97466666666665</c:v>
                </c:pt>
                <c:pt idx="519">
                  <c:v>150.27350000000001</c:v>
                </c:pt>
                <c:pt idx="520">
                  <c:v>150.6395</c:v>
                </c:pt>
                <c:pt idx="521">
                  <c:v>153.376</c:v>
                </c:pt>
                <c:pt idx="522">
                  <c:v>154.71699999999998</c:v>
                </c:pt>
                <c:pt idx="523">
                  <c:v>158.03749999999999</c:v>
                </c:pt>
                <c:pt idx="524">
                  <c:v>161.38366666666664</c:v>
                </c:pt>
                <c:pt idx="525">
                  <c:v>154.27083333333334</c:v>
                </c:pt>
                <c:pt idx="526">
                  <c:v>154.19899999999998</c:v>
                </c:pt>
                <c:pt idx="527">
                  <c:v>152.93483333333333</c:v>
                </c:pt>
                <c:pt idx="528">
                  <c:v>152.60716666666667</c:v>
                </c:pt>
                <c:pt idx="529">
                  <c:v>154.119</c:v>
                </c:pt>
                <c:pt idx="530">
                  <c:v>157.79183333333333</c:v>
                </c:pt>
                <c:pt idx="531">
                  <c:v>160.00399999999999</c:v>
                </c:pt>
                <c:pt idx="532">
                  <c:v>156.26016666666666</c:v>
                </c:pt>
                <c:pt idx="533">
                  <c:v>152.506</c:v>
                </c:pt>
                <c:pt idx="534">
                  <c:v>151.26733333333334</c:v>
                </c:pt>
                <c:pt idx="535">
                  <c:v>151.11516666666662</c:v>
                </c:pt>
                <c:pt idx="536">
                  <c:v>149.34399999999999</c:v>
                </c:pt>
                <c:pt idx="537">
                  <c:v>149.96833333333333</c:v>
                </c:pt>
                <c:pt idx="538">
                  <c:v>150.31649999999999</c:v>
                </c:pt>
                <c:pt idx="539">
                  <c:v>150.33850000000001</c:v>
                </c:pt>
                <c:pt idx="540">
                  <c:v>147.83899999999997</c:v>
                </c:pt>
                <c:pt idx="541">
                  <c:v>148.28183333333331</c:v>
                </c:pt>
                <c:pt idx="542">
                  <c:v>147.39516666666665</c:v>
                </c:pt>
                <c:pt idx="543">
                  <c:v>146.23733333333334</c:v>
                </c:pt>
                <c:pt idx="544">
                  <c:v>145.31699999999998</c:v>
                </c:pt>
                <c:pt idx="545">
                  <c:v>147.15666666666667</c:v>
                </c:pt>
                <c:pt idx="546">
                  <c:v>151.80550000000002</c:v>
                </c:pt>
                <c:pt idx="547">
                  <c:v>151.84550000000002</c:v>
                </c:pt>
                <c:pt idx="548">
                  <c:v>157.37066666666666</c:v>
                </c:pt>
                <c:pt idx="549">
                  <c:v>163.98616666666669</c:v>
                </c:pt>
                <c:pt idx="550">
                  <c:v>172.84450000000001</c:v>
                </c:pt>
                <c:pt idx="551">
                  <c:v>171.84016666666665</c:v>
                </c:pt>
                <c:pt idx="552">
                  <c:v>169.14666666666665</c:v>
                </c:pt>
                <c:pt idx="553">
                  <c:v>174.41616666666667</c:v>
                </c:pt>
                <c:pt idx="554">
                  <c:v>175.35333333333335</c:v>
                </c:pt>
                <c:pt idx="555">
                  <c:v>173.73666666666668</c:v>
                </c:pt>
                <c:pt idx="556">
                  <c:v>170.83899999999997</c:v>
                </c:pt>
                <c:pt idx="557">
                  <c:v>170.90583333333333</c:v>
                </c:pt>
                <c:pt idx="558">
                  <c:v>170.10966666666667</c:v>
                </c:pt>
                <c:pt idx="559">
                  <c:v>166.47783333333334</c:v>
                </c:pt>
                <c:pt idx="560">
                  <c:v>164.31033333333332</c:v>
                </c:pt>
                <c:pt idx="561">
                  <c:v>165.69749999999999</c:v>
                </c:pt>
                <c:pt idx="562">
                  <c:v>167.48533333333333</c:v>
                </c:pt>
                <c:pt idx="563">
                  <c:v>166.10033333333334</c:v>
                </c:pt>
                <c:pt idx="564">
                  <c:v>165.75050000000002</c:v>
                </c:pt>
                <c:pt idx="565">
                  <c:v>164.63866666666669</c:v>
                </c:pt>
                <c:pt idx="566">
                  <c:v>161.95150000000001</c:v>
                </c:pt>
                <c:pt idx="567">
                  <c:v>160.49233333333333</c:v>
                </c:pt>
                <c:pt idx="568">
                  <c:v>159.744</c:v>
                </c:pt>
                <c:pt idx="569">
                  <c:v>158.06366666666665</c:v>
                </c:pt>
                <c:pt idx="570">
                  <c:v>156.15316666666669</c:v>
                </c:pt>
                <c:pt idx="571">
                  <c:v>151.018</c:v>
                </c:pt>
                <c:pt idx="572">
                  <c:v>150.92366666666666</c:v>
                </c:pt>
                <c:pt idx="573">
                  <c:v>154.55200000000002</c:v>
                </c:pt>
                <c:pt idx="574">
                  <c:v>155.68083333333334</c:v>
                </c:pt>
                <c:pt idx="575">
                  <c:v>154.34650000000002</c:v>
                </c:pt>
                <c:pt idx="576">
                  <c:v>155.15266666666665</c:v>
                </c:pt>
                <c:pt idx="577">
                  <c:v>155.53183333333334</c:v>
                </c:pt>
                <c:pt idx="578">
                  <c:v>158.60616666666667</c:v>
                </c:pt>
                <c:pt idx="579">
                  <c:v>156.86416666666665</c:v>
                </c:pt>
                <c:pt idx="580">
                  <c:v>155.00183333333334</c:v>
                </c:pt>
                <c:pt idx="581">
                  <c:v>154.14283333333333</c:v>
                </c:pt>
                <c:pt idx="582">
                  <c:v>152.75450000000001</c:v>
                </c:pt>
                <c:pt idx="583">
                  <c:v>152.4905</c:v>
                </c:pt>
                <c:pt idx="584">
                  <c:v>152.14966666666666</c:v>
                </c:pt>
                <c:pt idx="585">
                  <c:v>152.64766666666665</c:v>
                </c:pt>
                <c:pt idx="586">
                  <c:v>153.71600000000001</c:v>
                </c:pt>
                <c:pt idx="587">
                  <c:v>156.30166666666668</c:v>
                </c:pt>
                <c:pt idx="588">
                  <c:v>158.02583333333334</c:v>
                </c:pt>
                <c:pt idx="589">
                  <c:v>157.7535</c:v>
                </c:pt>
                <c:pt idx="590">
                  <c:v>156.59883333333335</c:v>
                </c:pt>
                <c:pt idx="591">
                  <c:v>155.41299999999998</c:v>
                </c:pt>
                <c:pt idx="592">
                  <c:v>157.12666666666667</c:v>
                </c:pt>
                <c:pt idx="593">
                  <c:v>153.51733333333334</c:v>
                </c:pt>
                <c:pt idx="594">
                  <c:v>153.31916666666666</c:v>
                </c:pt>
                <c:pt idx="595">
                  <c:v>154.78016666666667</c:v>
                </c:pt>
                <c:pt idx="596">
                  <c:v>154.73216666666667</c:v>
                </c:pt>
                <c:pt idx="597">
                  <c:v>153.98933333333332</c:v>
                </c:pt>
                <c:pt idx="598">
                  <c:v>152.91116666666667</c:v>
                </c:pt>
                <c:pt idx="599">
                  <c:v>150.41416666666669</c:v>
                </c:pt>
                <c:pt idx="600">
                  <c:v>150.95916666666668</c:v>
                </c:pt>
                <c:pt idx="601">
                  <c:v>150.24383333333333</c:v>
                </c:pt>
                <c:pt idx="602">
                  <c:v>147.83199999999999</c:v>
                </c:pt>
                <c:pt idx="603">
                  <c:v>147.21333333333334</c:v>
                </c:pt>
                <c:pt idx="604">
                  <c:v>147.18350000000001</c:v>
                </c:pt>
                <c:pt idx="605">
                  <c:v>149.98066666666668</c:v>
                </c:pt>
                <c:pt idx="606">
                  <c:v>150.87649999999999</c:v>
                </c:pt>
                <c:pt idx="607">
                  <c:v>152.50683333333333</c:v>
                </c:pt>
                <c:pt idx="608">
                  <c:v>153.60216666666665</c:v>
                </c:pt>
                <c:pt idx="609">
                  <c:v>155.25866666666664</c:v>
                </c:pt>
                <c:pt idx="610">
                  <c:v>154.24666666666667</c:v>
                </c:pt>
                <c:pt idx="611">
                  <c:v>154.67366666666669</c:v>
                </c:pt>
                <c:pt idx="612">
                  <c:v>157.15266666666668</c:v>
                </c:pt>
                <c:pt idx="613">
                  <c:v>161.35850000000002</c:v>
                </c:pt>
                <c:pt idx="614">
                  <c:v>163.37916666666666</c:v>
                </c:pt>
                <c:pt idx="615">
                  <c:v>163.58783333333332</c:v>
                </c:pt>
                <c:pt idx="616">
                  <c:v>163.18466666666666</c:v>
                </c:pt>
                <c:pt idx="617">
                  <c:v>160.99283333333335</c:v>
                </c:pt>
                <c:pt idx="618">
                  <c:v>160.7835</c:v>
                </c:pt>
                <c:pt idx="619">
                  <c:v>162.88183333333333</c:v>
                </c:pt>
                <c:pt idx="620">
                  <c:v>163.20316666666665</c:v>
                </c:pt>
                <c:pt idx="621">
                  <c:v>161.94966666666664</c:v>
                </c:pt>
                <c:pt idx="622">
                  <c:v>157.95650000000001</c:v>
                </c:pt>
                <c:pt idx="623">
                  <c:v>157.35683333333336</c:v>
                </c:pt>
                <c:pt idx="624">
                  <c:v>161.02366666666668</c:v>
                </c:pt>
                <c:pt idx="625">
                  <c:v>159.60066666666668</c:v>
                </c:pt>
                <c:pt idx="626">
                  <c:v>161.26500000000001</c:v>
                </c:pt>
                <c:pt idx="627">
                  <c:v>161.52683333333334</c:v>
                </c:pt>
                <c:pt idx="628">
                  <c:v>162.76349999999999</c:v>
                </c:pt>
                <c:pt idx="629">
                  <c:v>168.54216666666665</c:v>
                </c:pt>
                <c:pt idx="630">
                  <c:v>166.66249999999999</c:v>
                </c:pt>
                <c:pt idx="631">
                  <c:v>165.87883333333332</c:v>
                </c:pt>
                <c:pt idx="632">
                  <c:v>162.44833333333332</c:v>
                </c:pt>
                <c:pt idx="633">
                  <c:v>162.90783333333334</c:v>
                </c:pt>
                <c:pt idx="634">
                  <c:v>166.3398333333333</c:v>
                </c:pt>
                <c:pt idx="635">
                  <c:v>171.33433333333335</c:v>
                </c:pt>
                <c:pt idx="636">
                  <c:v>175.00616666666667</c:v>
                </c:pt>
                <c:pt idx="637">
                  <c:v>170.81066666666666</c:v>
                </c:pt>
                <c:pt idx="638">
                  <c:v>162.83750000000001</c:v>
                </c:pt>
                <c:pt idx="639">
                  <c:v>161.09666666666666</c:v>
                </c:pt>
                <c:pt idx="640">
                  <c:v>162.52266666666665</c:v>
                </c:pt>
                <c:pt idx="641">
                  <c:v>164.83783333333335</c:v>
                </c:pt>
                <c:pt idx="642">
                  <c:v>163.56783333333331</c:v>
                </c:pt>
                <c:pt idx="643">
                  <c:v>162.82016666666667</c:v>
                </c:pt>
                <c:pt idx="644">
                  <c:v>164.46250000000001</c:v>
                </c:pt>
                <c:pt idx="645">
                  <c:v>164.26033333333336</c:v>
                </c:pt>
                <c:pt idx="646">
                  <c:v>166.44800000000001</c:v>
                </c:pt>
                <c:pt idx="647">
                  <c:v>170.58466666666666</c:v>
                </c:pt>
                <c:pt idx="648">
                  <c:v>177.39466666666667</c:v>
                </c:pt>
                <c:pt idx="649">
                  <c:v>182.82633333333334</c:v>
                </c:pt>
                <c:pt idx="650">
                  <c:v>179.03883333333332</c:v>
                </c:pt>
                <c:pt idx="651">
                  <c:v>175.33033333333333</c:v>
                </c:pt>
                <c:pt idx="652">
                  <c:v>177.14333333333332</c:v>
                </c:pt>
                <c:pt idx="653">
                  <c:v>180.18216666666663</c:v>
                </c:pt>
                <c:pt idx="654">
                  <c:v>183.67216666666664</c:v>
                </c:pt>
                <c:pt idx="655">
                  <c:v>184.631</c:v>
                </c:pt>
                <c:pt idx="656">
                  <c:v>183.05383333333336</c:v>
                </c:pt>
                <c:pt idx="657">
                  <c:v>187.39633333333336</c:v>
                </c:pt>
                <c:pt idx="658">
                  <c:v>188.67666666666665</c:v>
                </c:pt>
                <c:pt idx="659">
                  <c:v>187.51616666666666</c:v>
                </c:pt>
                <c:pt idx="660">
                  <c:v>190.34466666666665</c:v>
                </c:pt>
                <c:pt idx="661">
                  <c:v>194.57000000000002</c:v>
                </c:pt>
                <c:pt idx="662">
                  <c:v>192.58099999999999</c:v>
                </c:pt>
                <c:pt idx="663">
                  <c:v>194.63649999999998</c:v>
                </c:pt>
                <c:pt idx="664">
                  <c:v>196.74599999999998</c:v>
                </c:pt>
                <c:pt idx="665">
                  <c:v>198.41633333333334</c:v>
                </c:pt>
                <c:pt idx="666">
                  <c:v>202.5806666666667</c:v>
                </c:pt>
                <c:pt idx="667">
                  <c:v>206.82050000000001</c:v>
                </c:pt>
                <c:pt idx="668">
                  <c:v>212.35549999999998</c:v>
                </c:pt>
                <c:pt idx="669">
                  <c:v>225.75833333333333</c:v>
                </c:pt>
                <c:pt idx="670">
                  <c:v>217.05633333333333</c:v>
                </c:pt>
                <c:pt idx="671">
                  <c:v>215.88499999999999</c:v>
                </c:pt>
                <c:pt idx="672">
                  <c:v>204.55349999999999</c:v>
                </c:pt>
                <c:pt idx="673">
                  <c:v>206.53366666666662</c:v>
                </c:pt>
                <c:pt idx="674">
                  <c:v>212.60833333333332</c:v>
                </c:pt>
                <c:pt idx="675">
                  <c:v>222.01366666666669</c:v>
                </c:pt>
                <c:pt idx="676">
                  <c:v>226.84049999999999</c:v>
                </c:pt>
                <c:pt idx="677">
                  <c:v>221.23416666666665</c:v>
                </c:pt>
                <c:pt idx="678">
                  <c:v>226.15599999999998</c:v>
                </c:pt>
                <c:pt idx="679">
                  <c:v>229.43199999999999</c:v>
                </c:pt>
                <c:pt idx="680">
                  <c:v>225.17999999999998</c:v>
                </c:pt>
                <c:pt idx="681">
                  <c:v>222.53833333333333</c:v>
                </c:pt>
                <c:pt idx="682">
                  <c:v>226.43916666666667</c:v>
                </c:pt>
                <c:pt idx="683">
                  <c:v>229.14700000000002</c:v>
                </c:pt>
                <c:pt idx="684">
                  <c:v>226.47883333333334</c:v>
                </c:pt>
                <c:pt idx="685">
                  <c:v>218.69983333333334</c:v>
                </c:pt>
                <c:pt idx="686">
                  <c:v>213.54750000000001</c:v>
                </c:pt>
                <c:pt idx="687">
                  <c:v>210.32849999999999</c:v>
                </c:pt>
                <c:pt idx="688">
                  <c:v>209.96699999999998</c:v>
                </c:pt>
                <c:pt idx="689">
                  <c:v>222.78483333333335</c:v>
                </c:pt>
                <c:pt idx="690">
                  <c:v>239.04916666666665</c:v>
                </c:pt>
                <c:pt idx="691">
                  <c:v>247.78616666666667</c:v>
                </c:pt>
                <c:pt idx="692">
                  <c:v>255.56366666666668</c:v>
                </c:pt>
                <c:pt idx="693">
                  <c:v>258.77800000000002</c:v>
                </c:pt>
                <c:pt idx="694">
                  <c:v>278.26583333333332</c:v>
                </c:pt>
                <c:pt idx="695">
                  <c:v>280.49333333333334</c:v>
                </c:pt>
                <c:pt idx="696">
                  <c:v>268.22933333333339</c:v>
                </c:pt>
                <c:pt idx="697">
                  <c:v>262.26066666666668</c:v>
                </c:pt>
                <c:pt idx="698">
                  <c:v>258.07516666666669</c:v>
                </c:pt>
                <c:pt idx="699">
                  <c:v>241.82583333333335</c:v>
                </c:pt>
                <c:pt idx="700">
                  <c:v>238.32050000000004</c:v>
                </c:pt>
                <c:pt idx="701">
                  <c:v>237.56783333333331</c:v>
                </c:pt>
                <c:pt idx="702">
                  <c:v>233.14600000000004</c:v>
                </c:pt>
                <c:pt idx="703">
                  <c:v>228.69916666666668</c:v>
                </c:pt>
                <c:pt idx="704">
                  <c:v>227.85633333333331</c:v>
                </c:pt>
                <c:pt idx="705">
                  <c:v>240.24700000000004</c:v>
                </c:pt>
                <c:pt idx="706">
                  <c:v>241.6</c:v>
                </c:pt>
                <c:pt idx="707">
                  <c:v>230.54833333333337</c:v>
                </c:pt>
                <c:pt idx="708">
                  <c:v>228.71250000000001</c:v>
                </c:pt>
                <c:pt idx="709">
                  <c:v>230.85533333333333</c:v>
                </c:pt>
                <c:pt idx="710">
                  <c:v>238.56916666666666</c:v>
                </c:pt>
                <c:pt idx="711">
                  <c:v>243.13499999999999</c:v>
                </c:pt>
                <c:pt idx="712">
                  <c:v>238.00533333333337</c:v>
                </c:pt>
                <c:pt idx="713">
                  <c:v>232.73733333333328</c:v>
                </c:pt>
                <c:pt idx="714">
                  <c:v>229.80416666666667</c:v>
                </c:pt>
                <c:pt idx="715">
                  <c:v>232.78783333333331</c:v>
                </c:pt>
                <c:pt idx="716">
                  <c:v>231.57716666666667</c:v>
                </c:pt>
                <c:pt idx="717">
                  <c:v>234.10749999999999</c:v>
                </c:pt>
                <c:pt idx="718">
                  <c:v>231.94883333333334</c:v>
                </c:pt>
                <c:pt idx="719">
                  <c:v>226.69566666666665</c:v>
                </c:pt>
                <c:pt idx="720">
                  <c:v>217.71433333333334</c:v>
                </c:pt>
                <c:pt idx="721">
                  <c:v>213.63749999999996</c:v>
                </c:pt>
                <c:pt idx="722">
                  <c:v>218.40599999999995</c:v>
                </c:pt>
                <c:pt idx="723">
                  <c:v>221.85683333333336</c:v>
                </c:pt>
                <c:pt idx="724">
                  <c:v>229.32633333333331</c:v>
                </c:pt>
                <c:pt idx="725">
                  <c:v>228.11166666666665</c:v>
                </c:pt>
                <c:pt idx="726">
                  <c:v>224.73599999999999</c:v>
                </c:pt>
                <c:pt idx="727">
                  <c:v>228.54650000000001</c:v>
                </c:pt>
                <c:pt idx="728">
                  <c:v>234.75450000000001</c:v>
                </c:pt>
                <c:pt idx="729">
                  <c:v>232.3365</c:v>
                </c:pt>
                <c:pt idx="730">
                  <c:v>227.07249999999999</c:v>
                </c:pt>
                <c:pt idx="731">
                  <c:v>221.87433333333334</c:v>
                </c:pt>
                <c:pt idx="732">
                  <c:v>218.92849999999999</c:v>
                </c:pt>
                <c:pt idx="733">
                  <c:v>217.56300000000002</c:v>
                </c:pt>
                <c:pt idx="734">
                  <c:v>220.79133333333331</c:v>
                </c:pt>
                <c:pt idx="735">
                  <c:v>221.66150000000002</c:v>
                </c:pt>
                <c:pt idx="736">
                  <c:v>226.23783333333333</c:v>
                </c:pt>
                <c:pt idx="737">
                  <c:v>226.20683333333332</c:v>
                </c:pt>
                <c:pt idx="738">
                  <c:v>227.21916666666667</c:v>
                </c:pt>
                <c:pt idx="739">
                  <c:v>230.64216666666667</c:v>
                </c:pt>
                <c:pt idx="740">
                  <c:v>230.32900000000004</c:v>
                </c:pt>
                <c:pt idx="741">
                  <c:v>231.7105</c:v>
                </c:pt>
                <c:pt idx="742">
                  <c:v>235.42316666666667</c:v>
                </c:pt>
                <c:pt idx="743">
                  <c:v>236.05349999999999</c:v>
                </c:pt>
                <c:pt idx="744">
                  <c:v>239.91050000000004</c:v>
                </c:pt>
                <c:pt idx="745">
                  <c:v>244.38366666666664</c:v>
                </c:pt>
                <c:pt idx="746">
                  <c:v>244.83466666666666</c:v>
                </c:pt>
                <c:pt idx="747">
                  <c:v>255.80783333333329</c:v>
                </c:pt>
                <c:pt idx="748">
                  <c:v>267.24299999999999</c:v>
                </c:pt>
                <c:pt idx="749">
                  <c:v>264.44916666666671</c:v>
                </c:pt>
                <c:pt idx="750">
                  <c:v>255.43033333333332</c:v>
                </c:pt>
                <c:pt idx="751">
                  <c:v>253.73233333333329</c:v>
                </c:pt>
                <c:pt idx="752">
                  <c:v>254.61500000000001</c:v>
                </c:pt>
                <c:pt idx="753">
                  <c:v>260.31566666666669</c:v>
                </c:pt>
                <c:pt idx="754">
                  <c:v>263.50933333333336</c:v>
                </c:pt>
                <c:pt idx="755">
                  <c:v>263.99650000000003</c:v>
                </c:pt>
                <c:pt idx="756">
                  <c:v>258.86766666666671</c:v>
                </c:pt>
                <c:pt idx="757">
                  <c:v>257.31350000000003</c:v>
                </c:pt>
                <c:pt idx="758">
                  <c:v>256.77366666666666</c:v>
                </c:pt>
                <c:pt idx="759">
                  <c:v>257.59633333333335</c:v>
                </c:pt>
                <c:pt idx="760">
                  <c:v>256.33166666666665</c:v>
                </c:pt>
                <c:pt idx="761">
                  <c:v>255.75433333333334</c:v>
                </c:pt>
                <c:pt idx="762">
                  <c:v>256.62</c:v>
                </c:pt>
                <c:pt idx="763">
                  <c:v>256.46899999999999</c:v>
                </c:pt>
                <c:pt idx="764">
                  <c:v>262.57599999999996</c:v>
                </c:pt>
                <c:pt idx="765">
                  <c:v>257.78233333333333</c:v>
                </c:pt>
                <c:pt idx="766">
                  <c:v>258.43966666666671</c:v>
                </c:pt>
                <c:pt idx="767">
                  <c:v>264.78100000000001</c:v>
                </c:pt>
                <c:pt idx="768">
                  <c:v>264.8681666666667</c:v>
                </c:pt>
                <c:pt idx="769">
                  <c:v>266.87233333333336</c:v>
                </c:pt>
                <c:pt idx="770">
                  <c:v>268.80766666666665</c:v>
                </c:pt>
                <c:pt idx="771">
                  <c:v>268.64266666666668</c:v>
                </c:pt>
                <c:pt idx="772">
                  <c:v>270.75283333333329</c:v>
                </c:pt>
                <c:pt idx="773">
                  <c:v>280.2861666666667</c:v>
                </c:pt>
                <c:pt idx="774">
                  <c:v>285.20733333333334</c:v>
                </c:pt>
                <c:pt idx="775">
                  <c:v>279.94150000000002</c:v>
                </c:pt>
                <c:pt idx="776">
                  <c:v>286.72633333333334</c:v>
                </c:pt>
                <c:pt idx="777">
                  <c:v>283.34633333333335</c:v>
                </c:pt>
                <c:pt idx="778">
                  <c:v>272.29383333333334</c:v>
                </c:pt>
                <c:pt idx="779">
                  <c:v>275.73683333333332</c:v>
                </c:pt>
                <c:pt idx="780">
                  <c:v>272.92083333333341</c:v>
                </c:pt>
                <c:pt idx="781">
                  <c:v>267.55466666666666</c:v>
                </c:pt>
                <c:pt idx="782">
                  <c:v>262.32349999999997</c:v>
                </c:pt>
                <c:pt idx="783">
                  <c:v>261.69883333333337</c:v>
                </c:pt>
                <c:pt idx="784">
                  <c:v>264.55416666666673</c:v>
                </c:pt>
                <c:pt idx="785">
                  <c:v>272.49966666666666</c:v>
                </c:pt>
                <c:pt idx="786">
                  <c:v>271.50099999999998</c:v>
                </c:pt>
                <c:pt idx="787">
                  <c:v>264.48216666666667</c:v>
                </c:pt>
                <c:pt idx="788">
                  <c:v>266.49333333333334</c:v>
                </c:pt>
                <c:pt idx="789">
                  <c:v>275.43199999999996</c:v>
                </c:pt>
                <c:pt idx="790">
                  <c:v>275.52866666666665</c:v>
                </c:pt>
                <c:pt idx="791">
                  <c:v>275.29583333333329</c:v>
                </c:pt>
                <c:pt idx="792">
                  <c:v>286.536</c:v>
                </c:pt>
                <c:pt idx="793">
                  <c:v>278.58066666666667</c:v>
                </c:pt>
                <c:pt idx="794">
                  <c:v>274.90966666666668</c:v>
                </c:pt>
                <c:pt idx="795">
                  <c:v>270.80500000000001</c:v>
                </c:pt>
                <c:pt idx="796">
                  <c:v>263.27066666666667</c:v>
                </c:pt>
                <c:pt idx="797">
                  <c:v>263.22199999999998</c:v>
                </c:pt>
                <c:pt idx="798">
                  <c:v>262.22750000000002</c:v>
                </c:pt>
                <c:pt idx="799">
                  <c:v>254.94516666666667</c:v>
                </c:pt>
                <c:pt idx="800">
                  <c:v>256.96466666666669</c:v>
                </c:pt>
                <c:pt idx="801">
                  <c:v>259.22766666666666</c:v>
                </c:pt>
                <c:pt idx="802">
                  <c:v>257.00683333333336</c:v>
                </c:pt>
                <c:pt idx="803">
                  <c:v>257.6991666666666</c:v>
                </c:pt>
                <c:pt idx="804">
                  <c:v>256.96449999999999</c:v>
                </c:pt>
                <c:pt idx="805">
                  <c:v>248.4</c:v>
                </c:pt>
                <c:pt idx="806">
                  <c:v>244.88033333333337</c:v>
                </c:pt>
                <c:pt idx="807">
                  <c:v>238.2981666666667</c:v>
                </c:pt>
                <c:pt idx="808">
                  <c:v>233.84350000000003</c:v>
                </c:pt>
                <c:pt idx="809">
                  <c:v>231.04449999999997</c:v>
                </c:pt>
                <c:pt idx="810">
                  <c:v>235.42383333333336</c:v>
                </c:pt>
                <c:pt idx="811">
                  <c:v>232.01483333333337</c:v>
                </c:pt>
                <c:pt idx="812">
                  <c:v>228.01766666666666</c:v>
                </c:pt>
                <c:pt idx="813">
                  <c:v>220.57799999999997</c:v>
                </c:pt>
                <c:pt idx="814">
                  <c:v>219.74199999999996</c:v>
                </c:pt>
                <c:pt idx="815">
                  <c:v>230.7465</c:v>
                </c:pt>
                <c:pt idx="816">
                  <c:v>228.48433333333332</c:v>
                </c:pt>
                <c:pt idx="817">
                  <c:v>213.8176666666667</c:v>
                </c:pt>
                <c:pt idx="818">
                  <c:v>206.04916666666668</c:v>
                </c:pt>
                <c:pt idx="819">
                  <c:v>217.33450000000002</c:v>
                </c:pt>
                <c:pt idx="820">
                  <c:v>216.78900000000002</c:v>
                </c:pt>
                <c:pt idx="821">
                  <c:v>221.6103333333333</c:v>
                </c:pt>
                <c:pt idx="822">
                  <c:v>225.49933333333331</c:v>
                </c:pt>
                <c:pt idx="823">
                  <c:v>225.78250000000003</c:v>
                </c:pt>
                <c:pt idx="824">
                  <c:v>224.22533333333331</c:v>
                </c:pt>
                <c:pt idx="825">
                  <c:v>219.41833333333332</c:v>
                </c:pt>
                <c:pt idx="826">
                  <c:v>212.14983333333339</c:v>
                </c:pt>
                <c:pt idx="827">
                  <c:v>212.22416666666663</c:v>
                </c:pt>
                <c:pt idx="828">
                  <c:v>212.98366666666666</c:v>
                </c:pt>
                <c:pt idx="829">
                  <c:v>215.97799999999998</c:v>
                </c:pt>
                <c:pt idx="830">
                  <c:v>222.77083333333334</c:v>
                </c:pt>
                <c:pt idx="831">
                  <c:v>222.511</c:v>
                </c:pt>
                <c:pt idx="832">
                  <c:v>227.02083333333329</c:v>
                </c:pt>
                <c:pt idx="833">
                  <c:v>225.82833333333335</c:v>
                </c:pt>
                <c:pt idx="834">
                  <c:v>221.75116666666665</c:v>
                </c:pt>
                <c:pt idx="835">
                  <c:v>214.92016666666666</c:v>
                </c:pt>
                <c:pt idx="836">
                  <c:v>207.405</c:v>
                </c:pt>
                <c:pt idx="837">
                  <c:v>205.05783333333332</c:v>
                </c:pt>
                <c:pt idx="838">
                  <c:v>207.16900000000001</c:v>
                </c:pt>
                <c:pt idx="839">
                  <c:v>207.64383333333333</c:v>
                </c:pt>
                <c:pt idx="840">
                  <c:v>204.20900000000003</c:v>
                </c:pt>
                <c:pt idx="841">
                  <c:v>202.26766666666671</c:v>
                </c:pt>
                <c:pt idx="842">
                  <c:v>205.51916666666668</c:v>
                </c:pt>
                <c:pt idx="843">
                  <c:v>208.03966666666665</c:v>
                </c:pt>
                <c:pt idx="844">
                  <c:v>211.91933333333336</c:v>
                </c:pt>
                <c:pt idx="845">
                  <c:v>208.72366666666667</c:v>
                </c:pt>
                <c:pt idx="846">
                  <c:v>205.22616666666667</c:v>
                </c:pt>
                <c:pt idx="847">
                  <c:v>205.36550000000003</c:v>
                </c:pt>
                <c:pt idx="848">
                  <c:v>206.85783333333333</c:v>
                </c:pt>
                <c:pt idx="849">
                  <c:v>205.92400000000001</c:v>
                </c:pt>
                <c:pt idx="850">
                  <c:v>211.20616666666669</c:v>
                </c:pt>
                <c:pt idx="851">
                  <c:v>213.42616666666666</c:v>
                </c:pt>
                <c:pt idx="852">
                  <c:v>213.32250000000002</c:v>
                </c:pt>
                <c:pt idx="853">
                  <c:v>210.8741666666667</c:v>
                </c:pt>
                <c:pt idx="854">
                  <c:v>212.62733333333335</c:v>
                </c:pt>
                <c:pt idx="855">
                  <c:v>208.6155</c:v>
                </c:pt>
                <c:pt idx="856">
                  <c:v>205.95433333333332</c:v>
                </c:pt>
                <c:pt idx="857">
                  <c:v>205.08366666666666</c:v>
                </c:pt>
                <c:pt idx="858">
                  <c:v>207.27200000000002</c:v>
                </c:pt>
                <c:pt idx="859">
                  <c:v>208.16099999999997</c:v>
                </c:pt>
                <c:pt idx="860">
                  <c:v>209.3175</c:v>
                </c:pt>
                <c:pt idx="861">
                  <c:v>215.04483333333337</c:v>
                </c:pt>
                <c:pt idx="862">
                  <c:v>220.20333333333335</c:v>
                </c:pt>
                <c:pt idx="863">
                  <c:v>216.67233333333334</c:v>
                </c:pt>
                <c:pt idx="864">
                  <c:v>220.52866666666668</c:v>
                </c:pt>
                <c:pt idx="865">
                  <c:v>219.51466666666667</c:v>
                </c:pt>
                <c:pt idx="866">
                  <c:v>216.87249999999997</c:v>
                </c:pt>
                <c:pt idx="867">
                  <c:v>216.22366666666667</c:v>
                </c:pt>
                <c:pt idx="868">
                  <c:v>215.82649999999998</c:v>
                </c:pt>
                <c:pt idx="869">
                  <c:v>214.85349999999997</c:v>
                </c:pt>
                <c:pt idx="870">
                  <c:v>219.7055</c:v>
                </c:pt>
                <c:pt idx="871">
                  <c:v>219.00333333333333</c:v>
                </c:pt>
                <c:pt idx="872">
                  <c:v>215.38900000000001</c:v>
                </c:pt>
                <c:pt idx="873">
                  <c:v>210.6155</c:v>
                </c:pt>
                <c:pt idx="874">
                  <c:v>204.51050000000001</c:v>
                </c:pt>
                <c:pt idx="875">
                  <c:v>200.76683333333335</c:v>
                </c:pt>
                <c:pt idx="876">
                  <c:v>200.52816666666664</c:v>
                </c:pt>
                <c:pt idx="877">
                  <c:v>205.29866666666669</c:v>
                </c:pt>
                <c:pt idx="878">
                  <c:v>209.69766666666666</c:v>
                </c:pt>
                <c:pt idx="879">
                  <c:v>216.75683333333333</c:v>
                </c:pt>
                <c:pt idx="880">
                  <c:v>223.40183333333334</c:v>
                </c:pt>
                <c:pt idx="881">
                  <c:v>220.41583333333335</c:v>
                </c:pt>
                <c:pt idx="882">
                  <c:v>220.88916666666668</c:v>
                </c:pt>
                <c:pt idx="883">
                  <c:v>215.84283333333335</c:v>
                </c:pt>
                <c:pt idx="884">
                  <c:v>208.11799999999997</c:v>
                </c:pt>
                <c:pt idx="885">
                  <c:v>206.4845</c:v>
                </c:pt>
                <c:pt idx="886">
                  <c:v>204.79516666666663</c:v>
                </c:pt>
                <c:pt idx="887">
                  <c:v>199.57250000000002</c:v>
                </c:pt>
                <c:pt idx="888">
                  <c:v>214.5575</c:v>
                </c:pt>
                <c:pt idx="889">
                  <c:v>220.20966666666672</c:v>
                </c:pt>
                <c:pt idx="890">
                  <c:v>212.25766666666667</c:v>
                </c:pt>
                <c:pt idx="891">
                  <c:v>199.73733333333334</c:v>
                </c:pt>
                <c:pt idx="892">
                  <c:v>198.56966666666665</c:v>
                </c:pt>
                <c:pt idx="893">
                  <c:v>195.57466666666664</c:v>
                </c:pt>
                <c:pt idx="894">
                  <c:v>194.2115</c:v>
                </c:pt>
                <c:pt idx="895">
                  <c:v>198.66766666666669</c:v>
                </c:pt>
                <c:pt idx="896">
                  <c:v>198.31200000000001</c:v>
                </c:pt>
                <c:pt idx="897">
                  <c:v>197.35333333333335</c:v>
                </c:pt>
                <c:pt idx="898">
                  <c:v>191.24066666666667</c:v>
                </c:pt>
                <c:pt idx="899">
                  <c:v>183.04150000000001</c:v>
                </c:pt>
                <c:pt idx="900">
                  <c:v>177.4725</c:v>
                </c:pt>
                <c:pt idx="901">
                  <c:v>175.43449999999999</c:v>
                </c:pt>
                <c:pt idx="902">
                  <c:v>174.23816666666667</c:v>
                </c:pt>
                <c:pt idx="903">
                  <c:v>175.24866666666665</c:v>
                </c:pt>
                <c:pt idx="904">
                  <c:v>175.72166666666666</c:v>
                </c:pt>
                <c:pt idx="905">
                  <c:v>176.52100000000004</c:v>
                </c:pt>
                <c:pt idx="906">
                  <c:v>175.39000000000001</c:v>
                </c:pt>
                <c:pt idx="907">
                  <c:v>175.09916666666666</c:v>
                </c:pt>
                <c:pt idx="908">
                  <c:v>174.59016666666665</c:v>
                </c:pt>
                <c:pt idx="909">
                  <c:v>177.22166666666666</c:v>
                </c:pt>
                <c:pt idx="910">
                  <c:v>180.27416666666667</c:v>
                </c:pt>
                <c:pt idx="911">
                  <c:v>181.30349999999999</c:v>
                </c:pt>
                <c:pt idx="912">
                  <c:v>181.41283333333334</c:v>
                </c:pt>
                <c:pt idx="913">
                  <c:v>180.43483333333333</c:v>
                </c:pt>
                <c:pt idx="914">
                  <c:v>179.74800000000002</c:v>
                </c:pt>
                <c:pt idx="915">
                  <c:v>181.53650000000002</c:v>
                </c:pt>
                <c:pt idx="916">
                  <c:v>179.94749999999999</c:v>
                </c:pt>
                <c:pt idx="917">
                  <c:v>174.50333333333333</c:v>
                </c:pt>
                <c:pt idx="918">
                  <c:v>169.65350000000001</c:v>
                </c:pt>
                <c:pt idx="919">
                  <c:v>164.09450000000001</c:v>
                </c:pt>
                <c:pt idx="920">
                  <c:v>161.37699999999998</c:v>
                </c:pt>
                <c:pt idx="921">
                  <c:v>160.69133333333335</c:v>
                </c:pt>
                <c:pt idx="922">
                  <c:v>159.77866666666668</c:v>
                </c:pt>
                <c:pt idx="923">
                  <c:v>160.04499999999999</c:v>
                </c:pt>
                <c:pt idx="924">
                  <c:v>157.62266666666667</c:v>
                </c:pt>
                <c:pt idx="925">
                  <c:v>157.0915</c:v>
                </c:pt>
                <c:pt idx="926">
                  <c:v>158.34233333333336</c:v>
                </c:pt>
                <c:pt idx="927">
                  <c:v>155.33249999999998</c:v>
                </c:pt>
                <c:pt idx="928">
                  <c:v>155.74033333333333</c:v>
                </c:pt>
                <c:pt idx="929">
                  <c:v>156.23183333333333</c:v>
                </c:pt>
                <c:pt idx="930">
                  <c:v>158.4075</c:v>
                </c:pt>
                <c:pt idx="931">
                  <c:v>161.67516666666668</c:v>
                </c:pt>
                <c:pt idx="932">
                  <c:v>164.71183333333335</c:v>
                </c:pt>
                <c:pt idx="933">
                  <c:v>163.90466666666666</c:v>
                </c:pt>
                <c:pt idx="934">
                  <c:v>162.97999999999999</c:v>
                </c:pt>
                <c:pt idx="935">
                  <c:v>163.184</c:v>
                </c:pt>
                <c:pt idx="936">
                  <c:v>166.37350000000001</c:v>
                </c:pt>
                <c:pt idx="937">
                  <c:v>167.59633333333332</c:v>
                </c:pt>
                <c:pt idx="938">
                  <c:v>165.53416666666666</c:v>
                </c:pt>
                <c:pt idx="939">
                  <c:v>163.99199999999999</c:v>
                </c:pt>
                <c:pt idx="940">
                  <c:v>158.97899999999998</c:v>
                </c:pt>
                <c:pt idx="941">
                  <c:v>155.33199999999999</c:v>
                </c:pt>
                <c:pt idx="942">
                  <c:v>155.75050000000002</c:v>
                </c:pt>
                <c:pt idx="943">
                  <c:v>160.70066666666668</c:v>
                </c:pt>
                <c:pt idx="944">
                  <c:v>162.03883333333334</c:v>
                </c:pt>
                <c:pt idx="945">
                  <c:v>169.13366666666664</c:v>
                </c:pt>
                <c:pt idx="946">
                  <c:v>172.37316666666666</c:v>
                </c:pt>
                <c:pt idx="947">
                  <c:v>170.92816666666667</c:v>
                </c:pt>
                <c:pt idx="948">
                  <c:v>172.78333333333333</c:v>
                </c:pt>
                <c:pt idx="949">
                  <c:v>169.14133333333334</c:v>
                </c:pt>
                <c:pt idx="950">
                  <c:v>181.53216666666665</c:v>
                </c:pt>
                <c:pt idx="951">
                  <c:v>174.40783333333331</c:v>
                </c:pt>
                <c:pt idx="952">
                  <c:v>169.358</c:v>
                </c:pt>
                <c:pt idx="953">
                  <c:v>174.20716666666669</c:v>
                </c:pt>
                <c:pt idx="954">
                  <c:v>179.28933333333336</c:v>
                </c:pt>
                <c:pt idx="955">
                  <c:v>177.577</c:v>
                </c:pt>
                <c:pt idx="956">
                  <c:v>173.428</c:v>
                </c:pt>
                <c:pt idx="957">
                  <c:v>175.97033333333334</c:v>
                </c:pt>
                <c:pt idx="958">
                  <c:v>175.96783333333335</c:v>
                </c:pt>
                <c:pt idx="959">
                  <c:v>172.40700000000001</c:v>
                </c:pt>
                <c:pt idx="960">
                  <c:v>175.34</c:v>
                </c:pt>
                <c:pt idx="961">
                  <c:v>173.71100000000001</c:v>
                </c:pt>
                <c:pt idx="962">
                  <c:v>172.82333333333335</c:v>
                </c:pt>
                <c:pt idx="963">
                  <c:v>172.95849999999999</c:v>
                </c:pt>
                <c:pt idx="964">
                  <c:v>172.68083333333334</c:v>
                </c:pt>
                <c:pt idx="965">
                  <c:v>174.51616666666666</c:v>
                </c:pt>
                <c:pt idx="966">
                  <c:v>173.74450000000002</c:v>
                </c:pt>
                <c:pt idx="967">
                  <c:v>172.66549999999998</c:v>
                </c:pt>
                <c:pt idx="968">
                  <c:v>173.53616666666667</c:v>
                </c:pt>
                <c:pt idx="969">
                  <c:v>175.19166666666669</c:v>
                </c:pt>
                <c:pt idx="970">
                  <c:v>173.88716666666667</c:v>
                </c:pt>
                <c:pt idx="971">
                  <c:v>169.9171666666667</c:v>
                </c:pt>
                <c:pt idx="972">
                  <c:v>169.29283333333333</c:v>
                </c:pt>
                <c:pt idx="973">
                  <c:v>168.80316666666667</c:v>
                </c:pt>
                <c:pt idx="974">
                  <c:v>167.7225</c:v>
                </c:pt>
                <c:pt idx="975">
                  <c:v>167.86449999999999</c:v>
                </c:pt>
                <c:pt idx="976">
                  <c:v>171.38050000000001</c:v>
                </c:pt>
                <c:pt idx="977">
                  <c:v>173.37266666666667</c:v>
                </c:pt>
                <c:pt idx="978">
                  <c:v>174.72366666666665</c:v>
                </c:pt>
                <c:pt idx="979">
                  <c:v>173.5515</c:v>
                </c:pt>
                <c:pt idx="980">
                  <c:v>175.95366666666663</c:v>
                </c:pt>
                <c:pt idx="981">
                  <c:v>179.27499999999998</c:v>
                </c:pt>
                <c:pt idx="982">
                  <c:v>178.73083333333332</c:v>
                </c:pt>
                <c:pt idx="983">
                  <c:v>178.12350000000001</c:v>
                </c:pt>
                <c:pt idx="984">
                  <c:v>169.79183333333333</c:v>
                </c:pt>
                <c:pt idx="985">
                  <c:v>166.37116666666665</c:v>
                </c:pt>
                <c:pt idx="986">
                  <c:v>176.03116666666668</c:v>
                </c:pt>
                <c:pt idx="987">
                  <c:v>186.72800000000004</c:v>
                </c:pt>
                <c:pt idx="988">
                  <c:v>193.35266666666666</c:v>
                </c:pt>
                <c:pt idx="989">
                  <c:v>209.62233333333333</c:v>
                </c:pt>
                <c:pt idx="990">
                  <c:v>194.78483333333335</c:v>
                </c:pt>
                <c:pt idx="991">
                  <c:v>196.56800000000001</c:v>
                </c:pt>
                <c:pt idx="992">
                  <c:v>198.07216666666667</c:v>
                </c:pt>
                <c:pt idx="993">
                  <c:v>201.60916666666665</c:v>
                </c:pt>
                <c:pt idx="994">
                  <c:v>201.26733333333331</c:v>
                </c:pt>
                <c:pt idx="995">
                  <c:v>196.98933333333332</c:v>
                </c:pt>
                <c:pt idx="996">
                  <c:v>196.91583333333335</c:v>
                </c:pt>
                <c:pt idx="997">
                  <c:v>197.9435</c:v>
                </c:pt>
                <c:pt idx="998">
                  <c:v>198.36016666666669</c:v>
                </c:pt>
                <c:pt idx="999">
                  <c:v>197.01900000000001</c:v>
                </c:pt>
                <c:pt idx="1000">
                  <c:v>195.27683333333334</c:v>
                </c:pt>
                <c:pt idx="1001">
                  <c:v>192.89649999999997</c:v>
                </c:pt>
                <c:pt idx="1002">
                  <c:v>196.22716666666668</c:v>
                </c:pt>
                <c:pt idx="1003">
                  <c:v>197.05366666666666</c:v>
                </c:pt>
                <c:pt idx="1004">
                  <c:v>192.95316666666668</c:v>
                </c:pt>
                <c:pt idx="1005">
                  <c:v>187.85283333333334</c:v>
                </c:pt>
                <c:pt idx="1006">
                  <c:v>182.86766666666665</c:v>
                </c:pt>
                <c:pt idx="1007">
                  <c:v>181.38550000000001</c:v>
                </c:pt>
                <c:pt idx="1008">
                  <c:v>181.79133333333334</c:v>
                </c:pt>
                <c:pt idx="1009">
                  <c:v>181.14583333333334</c:v>
                </c:pt>
                <c:pt idx="1010">
                  <c:v>180.69133333333335</c:v>
                </c:pt>
                <c:pt idx="1011">
                  <c:v>181.9075</c:v>
                </c:pt>
                <c:pt idx="1012">
                  <c:v>184.80999999999997</c:v>
                </c:pt>
                <c:pt idx="1013">
                  <c:v>182.76683333333332</c:v>
                </c:pt>
                <c:pt idx="1014">
                  <c:v>166.4325</c:v>
                </c:pt>
                <c:pt idx="1015">
                  <c:v>166.05633333333336</c:v>
                </c:pt>
                <c:pt idx="1016">
                  <c:v>165.71883333333332</c:v>
                </c:pt>
                <c:pt idx="1017">
                  <c:v>167.96166666666667</c:v>
                </c:pt>
                <c:pt idx="1018">
                  <c:v>169.29316666666668</c:v>
                </c:pt>
                <c:pt idx="1019">
                  <c:v>167.02383333333333</c:v>
                </c:pt>
                <c:pt idx="1020">
                  <c:v>165.66933333333333</c:v>
                </c:pt>
                <c:pt idx="1021">
                  <c:v>165.72349999999997</c:v>
                </c:pt>
                <c:pt idx="1022">
                  <c:v>163.988</c:v>
                </c:pt>
                <c:pt idx="1023">
                  <c:v>164.26233333333332</c:v>
                </c:pt>
                <c:pt idx="1024">
                  <c:v>163.2731666666667</c:v>
                </c:pt>
                <c:pt idx="1025">
                  <c:v>164.63483333333332</c:v>
                </c:pt>
                <c:pt idx="1026">
                  <c:v>165.34899999999996</c:v>
                </c:pt>
                <c:pt idx="1027">
                  <c:v>164.63549999999998</c:v>
                </c:pt>
                <c:pt idx="1028">
                  <c:v>162.13050000000001</c:v>
                </c:pt>
                <c:pt idx="1029">
                  <c:v>158.75450000000001</c:v>
                </c:pt>
                <c:pt idx="1030">
                  <c:v>157.309</c:v>
                </c:pt>
                <c:pt idx="1031">
                  <c:v>158.56266666666667</c:v>
                </c:pt>
                <c:pt idx="1032">
                  <c:v>157.91549999999998</c:v>
                </c:pt>
                <c:pt idx="1033">
                  <c:v>155.23099999999999</c:v>
                </c:pt>
                <c:pt idx="1034">
                  <c:v>152.23816666666667</c:v>
                </c:pt>
                <c:pt idx="1035">
                  <c:v>147.64983333333333</c:v>
                </c:pt>
                <c:pt idx="1036">
                  <c:v>145.91383333333334</c:v>
                </c:pt>
                <c:pt idx="1037">
                  <c:v>147.94499999999999</c:v>
                </c:pt>
                <c:pt idx="1038">
                  <c:v>150.41766666666669</c:v>
                </c:pt>
                <c:pt idx="1039">
                  <c:v>152.50433333333334</c:v>
                </c:pt>
                <c:pt idx="1040">
                  <c:v>152.93866666666665</c:v>
                </c:pt>
                <c:pt idx="1041">
                  <c:v>148.55600000000001</c:v>
                </c:pt>
                <c:pt idx="1042">
                  <c:v>146.00566666666666</c:v>
                </c:pt>
                <c:pt idx="1043">
                  <c:v>142.91049999999998</c:v>
                </c:pt>
                <c:pt idx="1044">
                  <c:v>143.59400000000002</c:v>
                </c:pt>
                <c:pt idx="1045">
                  <c:v>143.32849999999999</c:v>
                </c:pt>
                <c:pt idx="1046">
                  <c:v>144.8245</c:v>
                </c:pt>
                <c:pt idx="1047">
                  <c:v>141.49266666666668</c:v>
                </c:pt>
                <c:pt idx="1048">
                  <c:v>142.89666666666668</c:v>
                </c:pt>
                <c:pt idx="1049">
                  <c:v>141.28216666666665</c:v>
                </c:pt>
                <c:pt idx="1050">
                  <c:v>140.93350000000001</c:v>
                </c:pt>
                <c:pt idx="1051">
                  <c:v>141.31733333333332</c:v>
                </c:pt>
                <c:pt idx="1052">
                  <c:v>146.30233333333334</c:v>
                </c:pt>
                <c:pt idx="1053">
                  <c:v>148.52483333333333</c:v>
                </c:pt>
                <c:pt idx="1054">
                  <c:v>147.054</c:v>
                </c:pt>
                <c:pt idx="1055">
                  <c:v>146.1575</c:v>
                </c:pt>
                <c:pt idx="1056">
                  <c:v>147.06133333333335</c:v>
                </c:pt>
                <c:pt idx="1057">
                  <c:v>142.19766666666666</c:v>
                </c:pt>
                <c:pt idx="1058">
                  <c:v>139.77216666666666</c:v>
                </c:pt>
                <c:pt idx="1059">
                  <c:v>137.14966666666666</c:v>
                </c:pt>
                <c:pt idx="1060">
                  <c:v>145.81633333333332</c:v>
                </c:pt>
                <c:pt idx="1061">
                  <c:v>147.17133333333331</c:v>
                </c:pt>
                <c:pt idx="1062">
                  <c:v>148.65666666666667</c:v>
                </c:pt>
                <c:pt idx="1063">
                  <c:v>147.75016666666667</c:v>
                </c:pt>
                <c:pt idx="1064">
                  <c:v>145.50166666666664</c:v>
                </c:pt>
                <c:pt idx="1065">
                  <c:v>146.24799999999999</c:v>
                </c:pt>
                <c:pt idx="1066">
                  <c:v>144.71516666666668</c:v>
                </c:pt>
                <c:pt idx="1067">
                  <c:v>142.751</c:v>
                </c:pt>
                <c:pt idx="1068">
                  <c:v>142.00333333333333</c:v>
                </c:pt>
                <c:pt idx="1069">
                  <c:v>142.10633333333337</c:v>
                </c:pt>
                <c:pt idx="1070">
                  <c:v>140.785</c:v>
                </c:pt>
                <c:pt idx="1071">
                  <c:v>139.673</c:v>
                </c:pt>
                <c:pt idx="1072">
                  <c:v>139.15533333333335</c:v>
                </c:pt>
                <c:pt idx="1073">
                  <c:v>136.71950000000001</c:v>
                </c:pt>
                <c:pt idx="1074">
                  <c:v>136.04216666666665</c:v>
                </c:pt>
                <c:pt idx="1075">
                  <c:v>138.78549999999998</c:v>
                </c:pt>
                <c:pt idx="1076">
                  <c:v>138.56283333333334</c:v>
                </c:pt>
                <c:pt idx="1077">
                  <c:v>139.72566666666668</c:v>
                </c:pt>
                <c:pt idx="1078">
                  <c:v>139.13616666666667</c:v>
                </c:pt>
                <c:pt idx="1079">
                  <c:v>136.76083333333332</c:v>
                </c:pt>
                <c:pt idx="1080">
                  <c:v>136.36300000000003</c:v>
                </c:pt>
                <c:pt idx="1081">
                  <c:v>136.72283333333331</c:v>
                </c:pt>
                <c:pt idx="1082">
                  <c:v>135.32166666666669</c:v>
                </c:pt>
                <c:pt idx="1083">
                  <c:v>133.85433333333333</c:v>
                </c:pt>
                <c:pt idx="1084">
                  <c:v>137.52233333333334</c:v>
                </c:pt>
                <c:pt idx="1085">
                  <c:v>150.35849999999999</c:v>
                </c:pt>
                <c:pt idx="1086">
                  <c:v>142.82566666666665</c:v>
                </c:pt>
                <c:pt idx="1087">
                  <c:v>141.94300000000001</c:v>
                </c:pt>
                <c:pt idx="1088">
                  <c:v>139.54233333333332</c:v>
                </c:pt>
                <c:pt idx="1089">
                  <c:v>138.36716666666666</c:v>
                </c:pt>
                <c:pt idx="1090">
                  <c:v>139.05983333333333</c:v>
                </c:pt>
                <c:pt idx="1091">
                  <c:v>139.19666666666666</c:v>
                </c:pt>
                <c:pt idx="1092">
                  <c:v>139.12049999999999</c:v>
                </c:pt>
                <c:pt idx="1093">
                  <c:v>139.73083333333332</c:v>
                </c:pt>
                <c:pt idx="1094">
                  <c:v>140.12783333333334</c:v>
                </c:pt>
                <c:pt idx="1095">
                  <c:v>138.79299999999998</c:v>
                </c:pt>
                <c:pt idx="1096">
                  <c:v>138.30549999999999</c:v>
                </c:pt>
                <c:pt idx="1097">
                  <c:v>136.60733333333334</c:v>
                </c:pt>
                <c:pt idx="1098">
                  <c:v>136.51149999999998</c:v>
                </c:pt>
                <c:pt idx="1099">
                  <c:v>136.08966666666669</c:v>
                </c:pt>
                <c:pt idx="1100">
                  <c:v>135.65016666666668</c:v>
                </c:pt>
                <c:pt idx="1101">
                  <c:v>135.07550000000001</c:v>
                </c:pt>
                <c:pt idx="1102">
                  <c:v>134.9316666666667</c:v>
                </c:pt>
                <c:pt idx="1103">
                  <c:v>133.1925</c:v>
                </c:pt>
                <c:pt idx="1104">
                  <c:v>129.09633333333332</c:v>
                </c:pt>
                <c:pt idx="1105">
                  <c:v>132.34833333333333</c:v>
                </c:pt>
                <c:pt idx="1106">
                  <c:v>133.53033333333335</c:v>
                </c:pt>
                <c:pt idx="1107">
                  <c:v>134.34916666666666</c:v>
                </c:pt>
                <c:pt idx="1108">
                  <c:v>136.38016666666667</c:v>
                </c:pt>
                <c:pt idx="1109">
                  <c:v>138.54533333333333</c:v>
                </c:pt>
                <c:pt idx="1110">
                  <c:v>137.43616666666665</c:v>
                </c:pt>
                <c:pt idx="1111">
                  <c:v>135.11133333333333</c:v>
                </c:pt>
                <c:pt idx="1112">
                  <c:v>133.81699999999998</c:v>
                </c:pt>
                <c:pt idx="1113">
                  <c:v>134.33216666666667</c:v>
                </c:pt>
                <c:pt idx="1114">
                  <c:v>134.8688333333333</c:v>
                </c:pt>
                <c:pt idx="1115">
                  <c:v>136.64016666666669</c:v>
                </c:pt>
                <c:pt idx="1116">
                  <c:v>137.38516666666666</c:v>
                </c:pt>
                <c:pt idx="1117">
                  <c:v>137.34083333333334</c:v>
                </c:pt>
                <c:pt idx="1118">
                  <c:v>137.34450000000001</c:v>
                </c:pt>
                <c:pt idx="1119">
                  <c:v>139.61366666666666</c:v>
                </c:pt>
                <c:pt idx="1120">
                  <c:v>141.29349999999999</c:v>
                </c:pt>
                <c:pt idx="1121">
                  <c:v>141.58116666666669</c:v>
                </c:pt>
                <c:pt idx="1122">
                  <c:v>138.69716666666667</c:v>
                </c:pt>
                <c:pt idx="1123">
                  <c:v>138.15733333333336</c:v>
                </c:pt>
                <c:pt idx="1124">
                  <c:v>135.14466666666669</c:v>
                </c:pt>
                <c:pt idx="1125">
                  <c:v>133.90950000000001</c:v>
                </c:pt>
                <c:pt idx="1126">
                  <c:v>132.60083333333333</c:v>
                </c:pt>
                <c:pt idx="1127">
                  <c:v>132.023</c:v>
                </c:pt>
                <c:pt idx="1128">
                  <c:v>129.60866666666666</c:v>
                </c:pt>
                <c:pt idx="1129">
                  <c:v>128.32966666666667</c:v>
                </c:pt>
                <c:pt idx="1130">
                  <c:v>128.80266666666668</c:v>
                </c:pt>
                <c:pt idx="1131">
                  <c:v>128.29616666666666</c:v>
                </c:pt>
                <c:pt idx="1132">
                  <c:v>129.30100000000002</c:v>
                </c:pt>
                <c:pt idx="1133">
                  <c:v>130.42683333333335</c:v>
                </c:pt>
                <c:pt idx="1134">
                  <c:v>127.92633333333333</c:v>
                </c:pt>
                <c:pt idx="1135">
                  <c:v>126.54616666666665</c:v>
                </c:pt>
                <c:pt idx="1136">
                  <c:v>126.59366666666664</c:v>
                </c:pt>
                <c:pt idx="1137">
                  <c:v>125.43299999999999</c:v>
                </c:pt>
                <c:pt idx="1138">
                  <c:v>123.94949999999999</c:v>
                </c:pt>
                <c:pt idx="1139">
                  <c:v>122.55983333333334</c:v>
                </c:pt>
                <c:pt idx="1140">
                  <c:v>121.25433333333331</c:v>
                </c:pt>
                <c:pt idx="1141">
                  <c:v>121.55283333333331</c:v>
                </c:pt>
                <c:pt idx="1142">
                  <c:v>119.30250000000001</c:v>
                </c:pt>
                <c:pt idx="1143">
                  <c:v>120.15216666666667</c:v>
                </c:pt>
                <c:pt idx="1144">
                  <c:v>122.28833333333334</c:v>
                </c:pt>
                <c:pt idx="1145">
                  <c:v>125.76366666666668</c:v>
                </c:pt>
                <c:pt idx="1146">
                  <c:v>127.66399999999999</c:v>
                </c:pt>
                <c:pt idx="1147">
                  <c:v>125.34966666666666</c:v>
                </c:pt>
                <c:pt idx="1148">
                  <c:v>123.30099999999999</c:v>
                </c:pt>
                <c:pt idx="1149">
                  <c:v>122.49183333333333</c:v>
                </c:pt>
                <c:pt idx="1150">
                  <c:v>124.77166666666666</c:v>
                </c:pt>
                <c:pt idx="1151">
                  <c:v>124.21383333333334</c:v>
                </c:pt>
                <c:pt idx="1152">
                  <c:v>123.75150000000001</c:v>
                </c:pt>
                <c:pt idx="1153">
                  <c:v>122.80966666666666</c:v>
                </c:pt>
                <c:pt idx="1154">
                  <c:v>121.31483333333331</c:v>
                </c:pt>
                <c:pt idx="1155">
                  <c:v>120.56883333333333</c:v>
                </c:pt>
                <c:pt idx="1156">
                  <c:v>119.43349999999998</c:v>
                </c:pt>
                <c:pt idx="1157">
                  <c:v>119.488</c:v>
                </c:pt>
                <c:pt idx="1158">
                  <c:v>120.31233333333334</c:v>
                </c:pt>
                <c:pt idx="1159">
                  <c:v>117.64183333333334</c:v>
                </c:pt>
                <c:pt idx="1160">
                  <c:v>116.09116666666667</c:v>
                </c:pt>
                <c:pt idx="1161">
                  <c:v>114.68016666666666</c:v>
                </c:pt>
                <c:pt idx="1162">
                  <c:v>114.75599999999999</c:v>
                </c:pt>
                <c:pt idx="1163">
                  <c:v>114.55383333333334</c:v>
                </c:pt>
                <c:pt idx="1164">
                  <c:v>114.526</c:v>
                </c:pt>
                <c:pt idx="1165">
                  <c:v>112.82950000000001</c:v>
                </c:pt>
                <c:pt idx="1166">
                  <c:v>113.11149999999999</c:v>
                </c:pt>
                <c:pt idx="1167">
                  <c:v>111.30400000000002</c:v>
                </c:pt>
                <c:pt idx="1168">
                  <c:v>111.47733333333333</c:v>
                </c:pt>
                <c:pt idx="1169">
                  <c:v>110.61483333333332</c:v>
                </c:pt>
                <c:pt idx="1170">
                  <c:v>110.24833333333333</c:v>
                </c:pt>
                <c:pt idx="1171">
                  <c:v>108.76350000000002</c:v>
                </c:pt>
                <c:pt idx="1172">
                  <c:v>107.8335</c:v>
                </c:pt>
                <c:pt idx="1173">
                  <c:v>108.81666666666666</c:v>
                </c:pt>
                <c:pt idx="1174">
                  <c:v>121.55349999999999</c:v>
                </c:pt>
                <c:pt idx="1175">
                  <c:v>122.84716666666668</c:v>
                </c:pt>
                <c:pt idx="1176">
                  <c:v>121.71033333333334</c:v>
                </c:pt>
                <c:pt idx="1177">
                  <c:v>124.22133333333333</c:v>
                </c:pt>
                <c:pt idx="1178">
                  <c:v>123.91000000000001</c:v>
                </c:pt>
                <c:pt idx="1179">
                  <c:v>124.50616666666667</c:v>
                </c:pt>
                <c:pt idx="1180">
                  <c:v>123.05549999999999</c:v>
                </c:pt>
                <c:pt idx="1181">
                  <c:v>120.81850000000001</c:v>
                </c:pt>
                <c:pt idx="1182">
                  <c:v>118.63066666666667</c:v>
                </c:pt>
                <c:pt idx="1183">
                  <c:v>115.82666666666667</c:v>
                </c:pt>
                <c:pt idx="1184">
                  <c:v>114.74483333333335</c:v>
                </c:pt>
                <c:pt idx="1185">
                  <c:v>114.21816666666666</c:v>
                </c:pt>
                <c:pt idx="1186">
                  <c:v>115.01766666666667</c:v>
                </c:pt>
                <c:pt idx="1187">
                  <c:v>115.97383333333335</c:v>
                </c:pt>
                <c:pt idx="1188">
                  <c:v>115.849</c:v>
                </c:pt>
                <c:pt idx="1189">
                  <c:v>114.77650000000001</c:v>
                </c:pt>
                <c:pt idx="1190">
                  <c:v>114.45916666666669</c:v>
                </c:pt>
                <c:pt idx="1191">
                  <c:v>114.5115</c:v>
                </c:pt>
                <c:pt idx="1192">
                  <c:v>114.62883333333333</c:v>
                </c:pt>
                <c:pt idx="1193">
                  <c:v>113.24066666666668</c:v>
                </c:pt>
                <c:pt idx="1194">
                  <c:v>111.98116666666665</c:v>
                </c:pt>
                <c:pt idx="1195">
                  <c:v>110.31400000000001</c:v>
                </c:pt>
                <c:pt idx="1196">
                  <c:v>110.38516666666668</c:v>
                </c:pt>
                <c:pt idx="1197">
                  <c:v>110.27733333333333</c:v>
                </c:pt>
                <c:pt idx="1198">
                  <c:v>110.61900000000001</c:v>
                </c:pt>
                <c:pt idx="1199">
                  <c:v>112.11666666666667</c:v>
                </c:pt>
                <c:pt idx="1200">
                  <c:v>114.2165</c:v>
                </c:pt>
                <c:pt idx="1201">
                  <c:v>113.24083333333334</c:v>
                </c:pt>
                <c:pt idx="1202">
                  <c:v>112.14783333333334</c:v>
                </c:pt>
                <c:pt idx="1203">
                  <c:v>111.95333333333333</c:v>
                </c:pt>
                <c:pt idx="1204">
                  <c:v>111.63400000000001</c:v>
                </c:pt>
                <c:pt idx="1205">
                  <c:v>111.28749999999998</c:v>
                </c:pt>
                <c:pt idx="1206">
                  <c:v>113.051</c:v>
                </c:pt>
                <c:pt idx="1207">
                  <c:v>112.916</c:v>
                </c:pt>
                <c:pt idx="1208">
                  <c:v>116.01883333333335</c:v>
                </c:pt>
                <c:pt idx="1209">
                  <c:v>116.82683333333334</c:v>
                </c:pt>
                <c:pt idx="1210">
                  <c:v>118.77366666666667</c:v>
                </c:pt>
                <c:pt idx="1211">
                  <c:v>120.80133333333335</c:v>
                </c:pt>
                <c:pt idx="1212">
                  <c:v>121.62333333333333</c:v>
                </c:pt>
                <c:pt idx="1213">
                  <c:v>120.80783333333331</c:v>
                </c:pt>
                <c:pt idx="1214">
                  <c:v>122.04566666666666</c:v>
                </c:pt>
                <c:pt idx="1215">
                  <c:v>118.67783333333334</c:v>
                </c:pt>
                <c:pt idx="1216">
                  <c:v>116.64833333333333</c:v>
                </c:pt>
                <c:pt idx="1217">
                  <c:v>116.94450000000002</c:v>
                </c:pt>
                <c:pt idx="1218">
                  <c:v>115.99983333333334</c:v>
                </c:pt>
                <c:pt idx="1219">
                  <c:v>114.34950000000002</c:v>
                </c:pt>
                <c:pt idx="1220">
                  <c:v>113.48133333333334</c:v>
                </c:pt>
                <c:pt idx="1221">
                  <c:v>113.39866666666667</c:v>
                </c:pt>
                <c:pt idx="1222">
                  <c:v>110.88916666666667</c:v>
                </c:pt>
                <c:pt idx="1223">
                  <c:v>109.48750000000001</c:v>
                </c:pt>
                <c:pt idx="1224">
                  <c:v>110.90916666666668</c:v>
                </c:pt>
                <c:pt idx="1225">
                  <c:v>110.85733333333333</c:v>
                </c:pt>
                <c:pt idx="1226">
                  <c:v>110.95016666666665</c:v>
                </c:pt>
                <c:pt idx="1227">
                  <c:v>108.67099999999999</c:v>
                </c:pt>
                <c:pt idx="1228">
                  <c:v>107.57433333333334</c:v>
                </c:pt>
                <c:pt idx="1229">
                  <c:v>109.07549999999999</c:v>
                </c:pt>
                <c:pt idx="1230">
                  <c:v>110.55166666666668</c:v>
                </c:pt>
                <c:pt idx="1231">
                  <c:v>110.55033333333334</c:v>
                </c:pt>
                <c:pt idx="1232">
                  <c:v>110.48399999999999</c:v>
                </c:pt>
                <c:pt idx="1233">
                  <c:v>109.98166666666668</c:v>
                </c:pt>
                <c:pt idx="1234">
                  <c:v>108.53183333333334</c:v>
                </c:pt>
                <c:pt idx="1235">
                  <c:v>109.92266666666666</c:v>
                </c:pt>
                <c:pt idx="1236">
                  <c:v>108.62333333333332</c:v>
                </c:pt>
                <c:pt idx="1237">
                  <c:v>106.34449999999998</c:v>
                </c:pt>
                <c:pt idx="1238">
                  <c:v>105.557</c:v>
                </c:pt>
                <c:pt idx="1239">
                  <c:v>104.90683333333334</c:v>
                </c:pt>
                <c:pt idx="1240">
                  <c:v>104.99399999999999</c:v>
                </c:pt>
                <c:pt idx="1241">
                  <c:v>104.7495</c:v>
                </c:pt>
                <c:pt idx="1242">
                  <c:v>104.48116666666665</c:v>
                </c:pt>
                <c:pt idx="1243">
                  <c:v>104.18216666666666</c:v>
                </c:pt>
                <c:pt idx="1244">
                  <c:v>104.03983333333333</c:v>
                </c:pt>
                <c:pt idx="1245">
                  <c:v>103.26616666666666</c:v>
                </c:pt>
                <c:pt idx="1246">
                  <c:v>102.928</c:v>
                </c:pt>
                <c:pt idx="1247">
                  <c:v>102.99483333333332</c:v>
                </c:pt>
                <c:pt idx="1248">
                  <c:v>101.32816666666668</c:v>
                </c:pt>
                <c:pt idx="1249">
                  <c:v>99.873000000000005</c:v>
                </c:pt>
                <c:pt idx="1250">
                  <c:v>97.302166666666665</c:v>
                </c:pt>
                <c:pt idx="1251">
                  <c:v>95.56283333333333</c:v>
                </c:pt>
                <c:pt idx="1252">
                  <c:v>95.02</c:v>
                </c:pt>
                <c:pt idx="1253">
                  <c:v>93.803166666666684</c:v>
                </c:pt>
                <c:pt idx="1254">
                  <c:v>94.624166666666667</c:v>
                </c:pt>
                <c:pt idx="1255">
                  <c:v>94.186333333333323</c:v>
                </c:pt>
                <c:pt idx="1256">
                  <c:v>93.456333333333319</c:v>
                </c:pt>
                <c:pt idx="1257">
                  <c:v>93.363666666666674</c:v>
                </c:pt>
                <c:pt idx="1258">
                  <c:v>93.04516666666666</c:v>
                </c:pt>
                <c:pt idx="1259">
                  <c:v>93.260166666666677</c:v>
                </c:pt>
                <c:pt idx="1260">
                  <c:v>93.945333333333338</c:v>
                </c:pt>
                <c:pt idx="1261">
                  <c:v>96.007999999999996</c:v>
                </c:pt>
                <c:pt idx="1262">
                  <c:v>95.296166666666679</c:v>
                </c:pt>
                <c:pt idx="1263">
                  <c:v>96.413166666666669</c:v>
                </c:pt>
                <c:pt idx="1264">
                  <c:v>94.282166666666669</c:v>
                </c:pt>
                <c:pt idx="1265">
                  <c:v>94.040833333333339</c:v>
                </c:pt>
                <c:pt idx="1266">
                  <c:v>93.347833333333327</c:v>
                </c:pt>
                <c:pt idx="1267">
                  <c:v>94.467833333333317</c:v>
                </c:pt>
                <c:pt idx="1268">
                  <c:v>95.794500000000014</c:v>
                </c:pt>
                <c:pt idx="1269">
                  <c:v>94.500999999999991</c:v>
                </c:pt>
                <c:pt idx="1270">
                  <c:v>93.731833333333327</c:v>
                </c:pt>
                <c:pt idx="1271">
                  <c:v>97.176333333333346</c:v>
                </c:pt>
                <c:pt idx="1272">
                  <c:v>100.11566666666668</c:v>
                </c:pt>
                <c:pt idx="1273">
                  <c:v>100.181</c:v>
                </c:pt>
                <c:pt idx="1274">
                  <c:v>98.276833333333343</c:v>
                </c:pt>
                <c:pt idx="1275">
                  <c:v>105.11616666666664</c:v>
                </c:pt>
                <c:pt idx="1276">
                  <c:v>111.28766666666665</c:v>
                </c:pt>
                <c:pt idx="1277">
                  <c:v>108.45333333333333</c:v>
                </c:pt>
                <c:pt idx="1278">
                  <c:v>108.87933333333332</c:v>
                </c:pt>
                <c:pt idx="1279">
                  <c:v>106.45183333333334</c:v>
                </c:pt>
                <c:pt idx="1280">
                  <c:v>101.37616666666666</c:v>
                </c:pt>
                <c:pt idx="1281">
                  <c:v>99.410166666666669</c:v>
                </c:pt>
                <c:pt idx="1282">
                  <c:v>98.261333333333326</c:v>
                </c:pt>
                <c:pt idx="1283">
                  <c:v>101.10966666666667</c:v>
                </c:pt>
                <c:pt idx="1284">
                  <c:v>100.57333333333332</c:v>
                </c:pt>
                <c:pt idx="1285">
                  <c:v>100.74183333333333</c:v>
                </c:pt>
                <c:pt idx="1286">
                  <c:v>99.893166666666673</c:v>
                </c:pt>
                <c:pt idx="1287">
                  <c:v>97.92649999999999</c:v>
                </c:pt>
                <c:pt idx="1288">
                  <c:v>98.754500000000007</c:v>
                </c:pt>
                <c:pt idx="1289">
                  <c:v>99.727333333333334</c:v>
                </c:pt>
                <c:pt idx="1290">
                  <c:v>101.62233333333332</c:v>
                </c:pt>
                <c:pt idx="1291">
                  <c:v>101.82416666666666</c:v>
                </c:pt>
                <c:pt idx="1292">
                  <c:v>99.611499999999992</c:v>
                </c:pt>
                <c:pt idx="1293">
                  <c:v>98.382499999999993</c:v>
                </c:pt>
                <c:pt idx="1294">
                  <c:v>100.34083333333335</c:v>
                </c:pt>
                <c:pt idx="1295">
                  <c:v>99.791499999999999</c:v>
                </c:pt>
                <c:pt idx="1296">
                  <c:v>97.33550000000001</c:v>
                </c:pt>
                <c:pt idx="1297">
                  <c:v>96.376500000000007</c:v>
                </c:pt>
                <c:pt idx="1298">
                  <c:v>96.852666666666664</c:v>
                </c:pt>
                <c:pt idx="1299">
                  <c:v>97.194833333333335</c:v>
                </c:pt>
                <c:pt idx="1300">
                  <c:v>98.480999999999995</c:v>
                </c:pt>
                <c:pt idx="1301">
                  <c:v>99.041166666666655</c:v>
                </c:pt>
                <c:pt idx="1302">
                  <c:v>102.54983333333332</c:v>
                </c:pt>
                <c:pt idx="1303">
                  <c:v>110.89683333333335</c:v>
                </c:pt>
                <c:pt idx="1304">
                  <c:v>109.00566666666667</c:v>
                </c:pt>
                <c:pt idx="1305">
                  <c:v>111.57233333333333</c:v>
                </c:pt>
                <c:pt idx="1306">
                  <c:v>114.599</c:v>
                </c:pt>
                <c:pt idx="1307">
                  <c:v>112.96566666666666</c:v>
                </c:pt>
                <c:pt idx="1308">
                  <c:v>111.279</c:v>
                </c:pt>
                <c:pt idx="1309">
                  <c:v>110.633</c:v>
                </c:pt>
                <c:pt idx="1310">
                  <c:v>109.14333333333333</c:v>
                </c:pt>
                <c:pt idx="1311">
                  <c:v>108.60550000000001</c:v>
                </c:pt>
                <c:pt idx="1312">
                  <c:v>109.18933333333332</c:v>
                </c:pt>
                <c:pt idx="1313">
                  <c:v>108.96116666666667</c:v>
                </c:pt>
                <c:pt idx="1314">
                  <c:v>108.17450000000001</c:v>
                </c:pt>
                <c:pt idx="1315">
                  <c:v>106.5775</c:v>
                </c:pt>
                <c:pt idx="1316">
                  <c:v>107.40366666666667</c:v>
                </c:pt>
                <c:pt idx="1317">
                  <c:v>108.7675</c:v>
                </c:pt>
                <c:pt idx="1318">
                  <c:v>107.413</c:v>
                </c:pt>
                <c:pt idx="1319">
                  <c:v>107.31183333333335</c:v>
                </c:pt>
                <c:pt idx="1320">
                  <c:v>107.13783333333333</c:v>
                </c:pt>
                <c:pt idx="1321">
                  <c:v>107.43533333333333</c:v>
                </c:pt>
                <c:pt idx="1322">
                  <c:v>107.21333333333332</c:v>
                </c:pt>
                <c:pt idx="1323">
                  <c:v>105.92783333333334</c:v>
                </c:pt>
                <c:pt idx="1324">
                  <c:v>104.75316666666664</c:v>
                </c:pt>
                <c:pt idx="1325">
                  <c:v>105.91283333333335</c:v>
                </c:pt>
                <c:pt idx="1326">
                  <c:v>108.30666666666666</c:v>
                </c:pt>
                <c:pt idx="1327">
                  <c:v>110.63416666666666</c:v>
                </c:pt>
                <c:pt idx="1328">
                  <c:v>111.2835</c:v>
                </c:pt>
                <c:pt idx="1329">
                  <c:v>112.87766666666666</c:v>
                </c:pt>
                <c:pt idx="1330">
                  <c:v>112.40083333333332</c:v>
                </c:pt>
                <c:pt idx="1331">
                  <c:v>111.3075</c:v>
                </c:pt>
                <c:pt idx="1332">
                  <c:v>112.62833333333334</c:v>
                </c:pt>
                <c:pt idx="1333">
                  <c:v>114.03766666666665</c:v>
                </c:pt>
                <c:pt idx="1334">
                  <c:v>116.57866666666666</c:v>
                </c:pt>
                <c:pt idx="1335">
                  <c:v>120.38166666666666</c:v>
                </c:pt>
                <c:pt idx="1336">
                  <c:v>119.83083333333332</c:v>
                </c:pt>
                <c:pt idx="1337">
                  <c:v>122.73150000000003</c:v>
                </c:pt>
                <c:pt idx="1338">
                  <c:v>128.56449999999998</c:v>
                </c:pt>
                <c:pt idx="1339">
                  <c:v>126.92416666666668</c:v>
                </c:pt>
                <c:pt idx="1340">
                  <c:v>121.23566666666666</c:v>
                </c:pt>
                <c:pt idx="1341">
                  <c:v>118.9015</c:v>
                </c:pt>
                <c:pt idx="1342">
                  <c:v>119.11633333333332</c:v>
                </c:pt>
                <c:pt idx="1343">
                  <c:v>121.67083333333333</c:v>
                </c:pt>
                <c:pt idx="1344">
                  <c:v>122.66700000000002</c:v>
                </c:pt>
                <c:pt idx="1345">
                  <c:v>125.62566666666667</c:v>
                </c:pt>
                <c:pt idx="1346">
                  <c:v>129.48949999999999</c:v>
                </c:pt>
                <c:pt idx="1347">
                  <c:v>128.3355</c:v>
                </c:pt>
                <c:pt idx="1348">
                  <c:v>125.25183333333332</c:v>
                </c:pt>
                <c:pt idx="1349">
                  <c:v>123.6015</c:v>
                </c:pt>
                <c:pt idx="1350">
                  <c:v>122.41933333333334</c:v>
                </c:pt>
                <c:pt idx="1351">
                  <c:v>122.27550000000001</c:v>
                </c:pt>
                <c:pt idx="1352">
                  <c:v>121.729</c:v>
                </c:pt>
                <c:pt idx="1353">
                  <c:v>128.34916666666666</c:v>
                </c:pt>
                <c:pt idx="1354">
                  <c:v>130.06716666666668</c:v>
                </c:pt>
                <c:pt idx="1355">
                  <c:v>134.00383333333335</c:v>
                </c:pt>
                <c:pt idx="1356">
                  <c:v>136.33333333333334</c:v>
                </c:pt>
                <c:pt idx="1357">
                  <c:v>135.67116666666666</c:v>
                </c:pt>
                <c:pt idx="1358">
                  <c:v>139.00533333333334</c:v>
                </c:pt>
                <c:pt idx="1359">
                  <c:v>140.65200000000002</c:v>
                </c:pt>
                <c:pt idx="1360">
                  <c:v>143.88683333333333</c:v>
                </c:pt>
                <c:pt idx="1361">
                  <c:v>146.14683333333335</c:v>
                </c:pt>
                <c:pt idx="1362">
                  <c:v>146.92416666666665</c:v>
                </c:pt>
                <c:pt idx="1363">
                  <c:v>149.64849999999998</c:v>
                </c:pt>
                <c:pt idx="1364">
                  <c:v>149.41916666666665</c:v>
                </c:pt>
                <c:pt idx="1365">
                  <c:v>149.74283333333335</c:v>
                </c:pt>
                <c:pt idx="1366">
                  <c:v>150.72999999999999</c:v>
                </c:pt>
                <c:pt idx="1367">
                  <c:v>154.77733333333333</c:v>
                </c:pt>
                <c:pt idx="1368">
                  <c:v>156.85916666666665</c:v>
                </c:pt>
                <c:pt idx="1369">
                  <c:v>154.01166666666668</c:v>
                </c:pt>
                <c:pt idx="1370">
                  <c:v>153.54733333333331</c:v>
                </c:pt>
                <c:pt idx="1371">
                  <c:v>149.56316666666666</c:v>
                </c:pt>
                <c:pt idx="1372">
                  <c:v>151.3715</c:v>
                </c:pt>
                <c:pt idx="1373">
                  <c:v>150.1815</c:v>
                </c:pt>
                <c:pt idx="1374">
                  <c:v>153.46899999999999</c:v>
                </c:pt>
                <c:pt idx="1375">
                  <c:v>155.28483333333332</c:v>
                </c:pt>
                <c:pt idx="1376">
                  <c:v>154.18383333333335</c:v>
                </c:pt>
                <c:pt idx="1377">
                  <c:v>158.02666666666667</c:v>
                </c:pt>
                <c:pt idx="1378">
                  <c:v>154.88899999999998</c:v>
                </c:pt>
                <c:pt idx="1379">
                  <c:v>153.02533333333329</c:v>
                </c:pt>
                <c:pt idx="1380">
                  <c:v>149.85633333333331</c:v>
                </c:pt>
                <c:pt idx="1381">
                  <c:v>146.15666666666667</c:v>
                </c:pt>
                <c:pt idx="1382">
                  <c:v>140.88783333333333</c:v>
                </c:pt>
                <c:pt idx="1383">
                  <c:v>137.66066666666666</c:v>
                </c:pt>
                <c:pt idx="1384">
                  <c:v>141.94283333333331</c:v>
                </c:pt>
                <c:pt idx="1385">
                  <c:v>138.9615</c:v>
                </c:pt>
                <c:pt idx="1386">
                  <c:v>135.03566666666666</c:v>
                </c:pt>
                <c:pt idx="1387">
                  <c:v>134.48266666666666</c:v>
                </c:pt>
                <c:pt idx="1388">
                  <c:v>134.6465</c:v>
                </c:pt>
                <c:pt idx="1389">
                  <c:v>134.54433333333333</c:v>
                </c:pt>
                <c:pt idx="1390">
                  <c:v>134.72416666666669</c:v>
                </c:pt>
                <c:pt idx="1391">
                  <c:v>133.01016666666666</c:v>
                </c:pt>
                <c:pt idx="1392">
                  <c:v>131.71666666666667</c:v>
                </c:pt>
                <c:pt idx="1393">
                  <c:v>129.50700000000001</c:v>
                </c:pt>
                <c:pt idx="1394">
                  <c:v>125.28033333333333</c:v>
                </c:pt>
                <c:pt idx="1395">
                  <c:v>123.408</c:v>
                </c:pt>
                <c:pt idx="1396">
                  <c:v>123.88783333333333</c:v>
                </c:pt>
                <c:pt idx="1397">
                  <c:v>124.27783333333333</c:v>
                </c:pt>
                <c:pt idx="1398">
                  <c:v>125.30399999999999</c:v>
                </c:pt>
                <c:pt idx="1399">
                  <c:v>126.58599999999997</c:v>
                </c:pt>
                <c:pt idx="1400">
                  <c:v>128.97899999999998</c:v>
                </c:pt>
                <c:pt idx="1401">
                  <c:v>126.53949999999999</c:v>
                </c:pt>
                <c:pt idx="1402">
                  <c:v>126.50650000000002</c:v>
                </c:pt>
                <c:pt idx="1403">
                  <c:v>126.39850000000001</c:v>
                </c:pt>
                <c:pt idx="1404">
                  <c:v>127.069</c:v>
                </c:pt>
                <c:pt idx="1405">
                  <c:v>129.72616666666667</c:v>
                </c:pt>
                <c:pt idx="1406">
                  <c:v>136.63066666666668</c:v>
                </c:pt>
                <c:pt idx="1407">
                  <c:v>144.417</c:v>
                </c:pt>
                <c:pt idx="1408">
                  <c:v>137.93700000000001</c:v>
                </c:pt>
                <c:pt idx="1409">
                  <c:v>140.22800000000001</c:v>
                </c:pt>
                <c:pt idx="1410">
                  <c:v>138.81633333333332</c:v>
                </c:pt>
                <c:pt idx="1411">
                  <c:v>141.15866666666668</c:v>
                </c:pt>
                <c:pt idx="1412">
                  <c:v>141.41733333333335</c:v>
                </c:pt>
                <c:pt idx="1413">
                  <c:v>141.04749999999999</c:v>
                </c:pt>
                <c:pt idx="1414">
                  <c:v>140.77166666666668</c:v>
                </c:pt>
                <c:pt idx="1415">
                  <c:v>144.66183333333333</c:v>
                </c:pt>
                <c:pt idx="1416">
                  <c:v>145.63133333333332</c:v>
                </c:pt>
                <c:pt idx="1417">
                  <c:v>144.32333333333335</c:v>
                </c:pt>
                <c:pt idx="1418">
                  <c:v>144.03650000000002</c:v>
                </c:pt>
                <c:pt idx="1419">
                  <c:v>145.18833333333333</c:v>
                </c:pt>
                <c:pt idx="1420">
                  <c:v>150.62283333333335</c:v>
                </c:pt>
                <c:pt idx="1421">
                  <c:v>154.05350000000001</c:v>
                </c:pt>
                <c:pt idx="1422">
                  <c:v>156.90733333333336</c:v>
                </c:pt>
                <c:pt idx="1423">
                  <c:v>163.63200000000001</c:v>
                </c:pt>
                <c:pt idx="1424">
                  <c:v>165.10400000000001</c:v>
                </c:pt>
                <c:pt idx="1425">
                  <c:v>159.58916666666667</c:v>
                </c:pt>
                <c:pt idx="1426">
                  <c:v>157.79716666666667</c:v>
                </c:pt>
                <c:pt idx="1427">
                  <c:v>158.01383333333334</c:v>
                </c:pt>
                <c:pt idx="1428">
                  <c:v>158.89133333333334</c:v>
                </c:pt>
                <c:pt idx="1429">
                  <c:v>156.89783333333332</c:v>
                </c:pt>
                <c:pt idx="1430">
                  <c:v>151.26799999999997</c:v>
                </c:pt>
                <c:pt idx="1431">
                  <c:v>149.04216666666667</c:v>
                </c:pt>
                <c:pt idx="1432">
                  <c:v>148.51900000000003</c:v>
                </c:pt>
                <c:pt idx="1433">
                  <c:v>147.05033333333333</c:v>
                </c:pt>
                <c:pt idx="1434">
                  <c:v>145.07049999999998</c:v>
                </c:pt>
                <c:pt idx="1435">
                  <c:v>147.90916666666666</c:v>
                </c:pt>
                <c:pt idx="1436">
                  <c:v>145.34783333333334</c:v>
                </c:pt>
                <c:pt idx="1437">
                  <c:v>145.08916666666667</c:v>
                </c:pt>
                <c:pt idx="1438">
                  <c:v>146.38916666666668</c:v>
                </c:pt>
                <c:pt idx="1439">
                  <c:v>142.90333333333334</c:v>
                </c:pt>
                <c:pt idx="1440">
                  <c:v>139.91566666666665</c:v>
                </c:pt>
                <c:pt idx="1441">
                  <c:v>141.03700000000001</c:v>
                </c:pt>
                <c:pt idx="1442">
                  <c:v>141.595</c:v>
                </c:pt>
                <c:pt idx="1443">
                  <c:v>140.60599999999999</c:v>
                </c:pt>
                <c:pt idx="1444">
                  <c:v>139.12716666666665</c:v>
                </c:pt>
                <c:pt idx="1445">
                  <c:v>144.89716666666666</c:v>
                </c:pt>
                <c:pt idx="1446">
                  <c:v>146.11350000000002</c:v>
                </c:pt>
                <c:pt idx="1447">
                  <c:v>146.42800000000003</c:v>
                </c:pt>
                <c:pt idx="1448">
                  <c:v>144.8355</c:v>
                </c:pt>
                <c:pt idx="1449">
                  <c:v>147.16983333333334</c:v>
                </c:pt>
                <c:pt idx="1450">
                  <c:v>148.18433333333334</c:v>
                </c:pt>
                <c:pt idx="1451">
                  <c:v>145.05316666666667</c:v>
                </c:pt>
                <c:pt idx="1452">
                  <c:v>143.869</c:v>
                </c:pt>
                <c:pt idx="1453">
                  <c:v>140.96883333333332</c:v>
                </c:pt>
                <c:pt idx="1454">
                  <c:v>140.78183333333334</c:v>
                </c:pt>
                <c:pt idx="1455">
                  <c:v>144.44783333333334</c:v>
                </c:pt>
                <c:pt idx="1456">
                  <c:v>144.74333333333334</c:v>
                </c:pt>
                <c:pt idx="1457">
                  <c:v>143.92233333333334</c:v>
                </c:pt>
                <c:pt idx="1458">
                  <c:v>145.184</c:v>
                </c:pt>
                <c:pt idx="1459">
                  <c:v>148.09216666666666</c:v>
                </c:pt>
                <c:pt idx="1460">
                  <c:v>147.88216666666665</c:v>
                </c:pt>
                <c:pt idx="1461">
                  <c:v>149.63633333333334</c:v>
                </c:pt>
                <c:pt idx="1462">
                  <c:v>151.2535</c:v>
                </c:pt>
                <c:pt idx="1463">
                  <c:v>150.91183333333333</c:v>
                </c:pt>
                <c:pt idx="1464">
                  <c:v>151.95983333333334</c:v>
                </c:pt>
                <c:pt idx="1465">
                  <c:v>150.62483333333333</c:v>
                </c:pt>
                <c:pt idx="1466">
                  <c:v>146.17349999999999</c:v>
                </c:pt>
                <c:pt idx="1467">
                  <c:v>144.43449999999999</c:v>
                </c:pt>
                <c:pt idx="1468">
                  <c:v>143.98283333333333</c:v>
                </c:pt>
                <c:pt idx="1469">
                  <c:v>141.2225</c:v>
                </c:pt>
                <c:pt idx="1470">
                  <c:v>142.02783333333332</c:v>
                </c:pt>
                <c:pt idx="1471">
                  <c:v>143.62500000000003</c:v>
                </c:pt>
                <c:pt idx="1472">
                  <c:v>144.83283333333335</c:v>
                </c:pt>
                <c:pt idx="1473">
                  <c:v>146.77433333333335</c:v>
                </c:pt>
                <c:pt idx="1474">
                  <c:v>148.00800000000001</c:v>
                </c:pt>
                <c:pt idx="1475">
                  <c:v>148.51</c:v>
                </c:pt>
                <c:pt idx="1476">
                  <c:v>148.82733333333334</c:v>
                </c:pt>
                <c:pt idx="1477">
                  <c:v>151.76233333333332</c:v>
                </c:pt>
                <c:pt idx="1478">
                  <c:v>156.36716666666666</c:v>
                </c:pt>
                <c:pt idx="1479">
                  <c:v>154.89333333333335</c:v>
                </c:pt>
                <c:pt idx="1480">
                  <c:v>155.02900000000002</c:v>
                </c:pt>
                <c:pt idx="1481">
                  <c:v>157.69933333333333</c:v>
                </c:pt>
                <c:pt idx="1482">
                  <c:v>158.01116666666667</c:v>
                </c:pt>
                <c:pt idx="1483">
                  <c:v>158.68383333333335</c:v>
                </c:pt>
                <c:pt idx="1484">
                  <c:v>153.79350000000002</c:v>
                </c:pt>
                <c:pt idx="1485">
                  <c:v>150.65766666666667</c:v>
                </c:pt>
                <c:pt idx="1486">
                  <c:v>150.09699999999998</c:v>
                </c:pt>
                <c:pt idx="1487">
                  <c:v>146.07399999999998</c:v>
                </c:pt>
                <c:pt idx="1488">
                  <c:v>147.44266666666667</c:v>
                </c:pt>
                <c:pt idx="1489">
                  <c:v>148.36366666666666</c:v>
                </c:pt>
                <c:pt idx="1490">
                  <c:v>150.54883333333333</c:v>
                </c:pt>
                <c:pt idx="1491">
                  <c:v>148.911</c:v>
                </c:pt>
                <c:pt idx="1492">
                  <c:v>151.93233333333333</c:v>
                </c:pt>
                <c:pt idx="1493">
                  <c:v>150.20650000000001</c:v>
                </c:pt>
                <c:pt idx="1494">
                  <c:v>146.83616666666668</c:v>
                </c:pt>
                <c:pt idx="1495">
                  <c:v>144.208</c:v>
                </c:pt>
                <c:pt idx="1496">
                  <c:v>143.61783333333332</c:v>
                </c:pt>
                <c:pt idx="1497">
                  <c:v>142.47216666666665</c:v>
                </c:pt>
                <c:pt idx="1498">
                  <c:v>142.273</c:v>
                </c:pt>
                <c:pt idx="1499">
                  <c:v>143.28049999999999</c:v>
                </c:pt>
                <c:pt idx="1500">
                  <c:v>146.44516666666667</c:v>
                </c:pt>
                <c:pt idx="1501">
                  <c:v>149.24766666666667</c:v>
                </c:pt>
                <c:pt idx="1502">
                  <c:v>152.02549999999999</c:v>
                </c:pt>
                <c:pt idx="1503">
                  <c:v>152.30933333333334</c:v>
                </c:pt>
                <c:pt idx="1504">
                  <c:v>152.41650000000001</c:v>
                </c:pt>
                <c:pt idx="1505">
                  <c:v>151.62916666666666</c:v>
                </c:pt>
                <c:pt idx="1506">
                  <c:v>150.29233333333332</c:v>
                </c:pt>
                <c:pt idx="1507">
                  <c:v>149.19066666666666</c:v>
                </c:pt>
                <c:pt idx="1508">
                  <c:v>149.22733333333335</c:v>
                </c:pt>
                <c:pt idx="1509">
                  <c:v>150.60883333333334</c:v>
                </c:pt>
                <c:pt idx="1510">
                  <c:v>150.02483333333331</c:v>
                </c:pt>
                <c:pt idx="1511">
                  <c:v>144.67383333333333</c:v>
                </c:pt>
                <c:pt idx="1512">
                  <c:v>138.7151666666667</c:v>
                </c:pt>
                <c:pt idx="1513">
                  <c:v>137.75000000000003</c:v>
                </c:pt>
                <c:pt idx="1514">
                  <c:v>134.41033333333334</c:v>
                </c:pt>
                <c:pt idx="1515">
                  <c:v>135.11333333333332</c:v>
                </c:pt>
                <c:pt idx="1516">
                  <c:v>134.35916666666665</c:v>
                </c:pt>
                <c:pt idx="1517">
                  <c:v>135.03916666666666</c:v>
                </c:pt>
                <c:pt idx="1518">
                  <c:v>133.82783333333336</c:v>
                </c:pt>
                <c:pt idx="1519">
                  <c:v>131.37899999999999</c:v>
                </c:pt>
                <c:pt idx="1520">
                  <c:v>130.63066666666668</c:v>
                </c:pt>
                <c:pt idx="1521">
                  <c:v>127.50116666666668</c:v>
                </c:pt>
                <c:pt idx="1522">
                  <c:v>126.14216666666665</c:v>
                </c:pt>
                <c:pt idx="1523">
                  <c:v>129.50016666666667</c:v>
                </c:pt>
                <c:pt idx="1524">
                  <c:v>127.25400000000002</c:v>
                </c:pt>
                <c:pt idx="1525">
                  <c:v>125.85666666666667</c:v>
                </c:pt>
                <c:pt idx="1526">
                  <c:v>124.10566666666666</c:v>
                </c:pt>
                <c:pt idx="1527">
                  <c:v>125.29266666666668</c:v>
                </c:pt>
                <c:pt idx="1528">
                  <c:v>125.48866666666665</c:v>
                </c:pt>
                <c:pt idx="1529">
                  <c:v>124.33366666666666</c:v>
                </c:pt>
                <c:pt idx="1530">
                  <c:v>119.185</c:v>
                </c:pt>
                <c:pt idx="1531">
                  <c:v>119.37549999999999</c:v>
                </c:pt>
                <c:pt idx="1532">
                  <c:v>119.47083333333335</c:v>
                </c:pt>
                <c:pt idx="1533">
                  <c:v>117.60016666666667</c:v>
                </c:pt>
                <c:pt idx="1534">
                  <c:v>118.78383333333333</c:v>
                </c:pt>
                <c:pt idx="1535">
                  <c:v>121.34666666666665</c:v>
                </c:pt>
                <c:pt idx="1536">
                  <c:v>124.12166666666667</c:v>
                </c:pt>
                <c:pt idx="1537">
                  <c:v>124.69366666666666</c:v>
                </c:pt>
                <c:pt idx="1538">
                  <c:v>122.72416666666668</c:v>
                </c:pt>
                <c:pt idx="1539">
                  <c:v>122.97083333333335</c:v>
                </c:pt>
                <c:pt idx="1540">
                  <c:v>122.30316666666666</c:v>
                </c:pt>
                <c:pt idx="1541">
                  <c:v>120.68183333333333</c:v>
                </c:pt>
                <c:pt idx="1542">
                  <c:v>120.13083333333333</c:v>
                </c:pt>
                <c:pt idx="1543">
                  <c:v>119.17633333333333</c:v>
                </c:pt>
                <c:pt idx="1544">
                  <c:v>119.12566666666667</c:v>
                </c:pt>
                <c:pt idx="1545">
                  <c:v>119.16199999999999</c:v>
                </c:pt>
                <c:pt idx="1546">
                  <c:v>118.2135</c:v>
                </c:pt>
                <c:pt idx="1547">
                  <c:v>114.95100000000001</c:v>
                </c:pt>
                <c:pt idx="1548">
                  <c:v>112.96466666666667</c:v>
                </c:pt>
                <c:pt idx="1549">
                  <c:v>111.2865</c:v>
                </c:pt>
                <c:pt idx="1550">
                  <c:v>111.61933333333333</c:v>
                </c:pt>
                <c:pt idx="1551">
                  <c:v>111.79816666666666</c:v>
                </c:pt>
                <c:pt idx="1552">
                  <c:v>112.17966666666666</c:v>
                </c:pt>
                <c:pt idx="1553">
                  <c:v>111.70716666666665</c:v>
                </c:pt>
                <c:pt idx="1554">
                  <c:v>112.60316666666665</c:v>
                </c:pt>
                <c:pt idx="1555">
                  <c:v>114.44016666666668</c:v>
                </c:pt>
                <c:pt idx="1556">
                  <c:v>115.96233333333332</c:v>
                </c:pt>
                <c:pt idx="1557">
                  <c:v>110.27483333333333</c:v>
                </c:pt>
                <c:pt idx="1558">
                  <c:v>108.85700000000001</c:v>
                </c:pt>
                <c:pt idx="1559">
                  <c:v>108.68316666666668</c:v>
                </c:pt>
                <c:pt idx="1560">
                  <c:v>108.56099999999999</c:v>
                </c:pt>
                <c:pt idx="1561">
                  <c:v>108.53833333333334</c:v>
                </c:pt>
                <c:pt idx="1562">
                  <c:v>106.42750000000001</c:v>
                </c:pt>
                <c:pt idx="1563">
                  <c:v>105.91733333333333</c:v>
                </c:pt>
                <c:pt idx="1564">
                  <c:v>115.66083333333331</c:v>
                </c:pt>
                <c:pt idx="1565">
                  <c:v>114.70266666666667</c:v>
                </c:pt>
                <c:pt idx="1566">
                  <c:v>118.37566666666667</c:v>
                </c:pt>
                <c:pt idx="1567">
                  <c:v>118.90349999999999</c:v>
                </c:pt>
                <c:pt idx="1568">
                  <c:v>116.91666666666667</c:v>
                </c:pt>
                <c:pt idx="1569">
                  <c:v>121.12950000000001</c:v>
                </c:pt>
                <c:pt idx="1570">
                  <c:v>121.55383333333333</c:v>
                </c:pt>
                <c:pt idx="1571">
                  <c:v>118.3265</c:v>
                </c:pt>
                <c:pt idx="1572">
                  <c:v>113.1075</c:v>
                </c:pt>
                <c:pt idx="1573">
                  <c:v>112.90983333333332</c:v>
                </c:pt>
                <c:pt idx="1574">
                  <c:v>111.41749999999998</c:v>
                </c:pt>
                <c:pt idx="1575">
                  <c:v>111.8575</c:v>
                </c:pt>
                <c:pt idx="1576">
                  <c:v>110.49533333333333</c:v>
                </c:pt>
                <c:pt idx="1577">
                  <c:v>110.30399999999999</c:v>
                </c:pt>
                <c:pt idx="1578">
                  <c:v>109.59683333333334</c:v>
                </c:pt>
                <c:pt idx="1579">
                  <c:v>110.41933333333333</c:v>
                </c:pt>
                <c:pt idx="1580">
                  <c:v>110.90016666666668</c:v>
                </c:pt>
                <c:pt idx="1581">
                  <c:v>109.64116666666666</c:v>
                </c:pt>
                <c:pt idx="1582">
                  <c:v>108.83116666666668</c:v>
                </c:pt>
                <c:pt idx="1583">
                  <c:v>108.27316666666668</c:v>
                </c:pt>
                <c:pt idx="1584">
                  <c:v>107.55866666666668</c:v>
                </c:pt>
                <c:pt idx="1585">
                  <c:v>108.2135</c:v>
                </c:pt>
                <c:pt idx="1586">
                  <c:v>108.29349999999999</c:v>
                </c:pt>
                <c:pt idx="1587">
                  <c:v>107.89083333333333</c:v>
                </c:pt>
                <c:pt idx="1588">
                  <c:v>107.43833333333333</c:v>
                </c:pt>
                <c:pt idx="1589">
                  <c:v>110.06966666666666</c:v>
                </c:pt>
                <c:pt idx="1590">
                  <c:v>112.76433333333334</c:v>
                </c:pt>
                <c:pt idx="1591">
                  <c:v>111.07350000000001</c:v>
                </c:pt>
                <c:pt idx="1592">
                  <c:v>109.777</c:v>
                </c:pt>
                <c:pt idx="1593">
                  <c:v>110.00533333333333</c:v>
                </c:pt>
                <c:pt idx="1594">
                  <c:v>110.36033333333334</c:v>
                </c:pt>
                <c:pt idx="1595">
                  <c:v>111.77200000000001</c:v>
                </c:pt>
                <c:pt idx="1596">
                  <c:v>110.73233333333333</c:v>
                </c:pt>
                <c:pt idx="1597">
                  <c:v>111.89383333333332</c:v>
                </c:pt>
                <c:pt idx="1598">
                  <c:v>114.67450000000001</c:v>
                </c:pt>
                <c:pt idx="1599">
                  <c:v>115.30150000000002</c:v>
                </c:pt>
                <c:pt idx="1600">
                  <c:v>116.67366666666668</c:v>
                </c:pt>
                <c:pt idx="1601">
                  <c:v>114.627</c:v>
                </c:pt>
                <c:pt idx="1602">
                  <c:v>117.974</c:v>
                </c:pt>
                <c:pt idx="1603">
                  <c:v>117.26300000000002</c:v>
                </c:pt>
                <c:pt idx="1604">
                  <c:v>116.45783333333334</c:v>
                </c:pt>
                <c:pt idx="1605">
                  <c:v>116.77449999999999</c:v>
                </c:pt>
                <c:pt idx="1606">
                  <c:v>118.86733333333332</c:v>
                </c:pt>
                <c:pt idx="1607">
                  <c:v>118.61966666666667</c:v>
                </c:pt>
                <c:pt idx="1608">
                  <c:v>116.81566666666664</c:v>
                </c:pt>
                <c:pt idx="1609">
                  <c:v>117.887</c:v>
                </c:pt>
                <c:pt idx="1610">
                  <c:v>120.497</c:v>
                </c:pt>
                <c:pt idx="1611">
                  <c:v>119.9325</c:v>
                </c:pt>
                <c:pt idx="1612">
                  <c:v>119.65333333333335</c:v>
                </c:pt>
                <c:pt idx="1613">
                  <c:v>120.98216666666667</c:v>
                </c:pt>
                <c:pt idx="1614">
                  <c:v>123.327</c:v>
                </c:pt>
                <c:pt idx="1615">
                  <c:v>122.40966666666668</c:v>
                </c:pt>
                <c:pt idx="1616">
                  <c:v>125.28200000000002</c:v>
                </c:pt>
                <c:pt idx="1617">
                  <c:v>124.93450000000001</c:v>
                </c:pt>
                <c:pt idx="1618">
                  <c:v>123.14366666666666</c:v>
                </c:pt>
                <c:pt idx="1619">
                  <c:v>122.62583333333333</c:v>
                </c:pt>
                <c:pt idx="1620">
                  <c:v>121.35116666666666</c:v>
                </c:pt>
                <c:pt idx="1621">
                  <c:v>120.49383333333333</c:v>
                </c:pt>
                <c:pt idx="1622">
                  <c:v>116.96116666666666</c:v>
                </c:pt>
                <c:pt idx="1623">
                  <c:v>115.37549999999999</c:v>
                </c:pt>
                <c:pt idx="1624">
                  <c:v>116.85983333333333</c:v>
                </c:pt>
                <c:pt idx="1625">
                  <c:v>116.70866666666666</c:v>
                </c:pt>
                <c:pt idx="1626">
                  <c:v>116.72066666666666</c:v>
                </c:pt>
                <c:pt idx="1627">
                  <c:v>116.492</c:v>
                </c:pt>
                <c:pt idx="1628">
                  <c:v>112.01366666666667</c:v>
                </c:pt>
                <c:pt idx="1629">
                  <c:v>109.2835</c:v>
                </c:pt>
                <c:pt idx="1630">
                  <c:v>106.25966666666666</c:v>
                </c:pt>
                <c:pt idx="1631">
                  <c:v>105.46916666666665</c:v>
                </c:pt>
                <c:pt idx="1632">
                  <c:v>106.48216666666667</c:v>
                </c:pt>
                <c:pt idx="1633">
                  <c:v>107.05316666666666</c:v>
                </c:pt>
                <c:pt idx="1634">
                  <c:v>106.76583333333333</c:v>
                </c:pt>
                <c:pt idx="1635">
                  <c:v>105.01966666666668</c:v>
                </c:pt>
                <c:pt idx="1636">
                  <c:v>104.33816666666667</c:v>
                </c:pt>
                <c:pt idx="1637">
                  <c:v>102.28133333333334</c:v>
                </c:pt>
                <c:pt idx="1638">
                  <c:v>101.9045</c:v>
                </c:pt>
                <c:pt idx="1639">
                  <c:v>99.109333333333325</c:v>
                </c:pt>
                <c:pt idx="1640">
                  <c:v>98.610500000000002</c:v>
                </c:pt>
                <c:pt idx="1641">
                  <c:v>99.598333333333343</c:v>
                </c:pt>
                <c:pt idx="1642">
                  <c:v>100.76</c:v>
                </c:pt>
                <c:pt idx="1643">
                  <c:v>100.30683333333333</c:v>
                </c:pt>
                <c:pt idx="1644">
                  <c:v>98.26433333333334</c:v>
                </c:pt>
                <c:pt idx="1645">
                  <c:v>97.14466666666668</c:v>
                </c:pt>
                <c:pt idx="1646">
                  <c:v>96.352999999999994</c:v>
                </c:pt>
                <c:pt idx="1647">
                  <c:v>95.247833333333332</c:v>
                </c:pt>
                <c:pt idx="1648">
                  <c:v>95.381666666666661</c:v>
                </c:pt>
                <c:pt idx="1649">
                  <c:v>96.415666666666667</c:v>
                </c:pt>
                <c:pt idx="1650">
                  <c:v>96.230833333333351</c:v>
                </c:pt>
                <c:pt idx="1651">
                  <c:v>95.652000000000001</c:v>
                </c:pt>
                <c:pt idx="1652">
                  <c:v>95.757000000000005</c:v>
                </c:pt>
                <c:pt idx="1653">
                  <c:v>95.395333333333326</c:v>
                </c:pt>
                <c:pt idx="1654">
                  <c:v>94.669499999999985</c:v>
                </c:pt>
                <c:pt idx="1655">
                  <c:v>94.454499999999996</c:v>
                </c:pt>
                <c:pt idx="1656">
                  <c:v>95.601333333333329</c:v>
                </c:pt>
                <c:pt idx="1657">
                  <c:v>95.578666666666663</c:v>
                </c:pt>
                <c:pt idx="1658">
                  <c:v>96.765000000000001</c:v>
                </c:pt>
                <c:pt idx="1659">
                  <c:v>97.317833333333326</c:v>
                </c:pt>
                <c:pt idx="1660">
                  <c:v>99.777333333333331</c:v>
                </c:pt>
                <c:pt idx="1661">
                  <c:v>103.85933333333334</c:v>
                </c:pt>
                <c:pt idx="1662">
                  <c:v>111.23700000000001</c:v>
                </c:pt>
                <c:pt idx="1663">
                  <c:v>109.62483333333334</c:v>
                </c:pt>
                <c:pt idx="1664">
                  <c:v>109.31866666666667</c:v>
                </c:pt>
                <c:pt idx="1665">
                  <c:v>105.1675</c:v>
                </c:pt>
                <c:pt idx="1666">
                  <c:v>105.76766666666667</c:v>
                </c:pt>
                <c:pt idx="1667">
                  <c:v>109.10566666666666</c:v>
                </c:pt>
                <c:pt idx="1668">
                  <c:v>106.52533333333332</c:v>
                </c:pt>
                <c:pt idx="1669">
                  <c:v>109.1845</c:v>
                </c:pt>
                <c:pt idx="1670">
                  <c:v>109.65499999999999</c:v>
                </c:pt>
                <c:pt idx="1671">
                  <c:v>106.39999999999999</c:v>
                </c:pt>
                <c:pt idx="1672">
                  <c:v>105.67816666666666</c:v>
                </c:pt>
                <c:pt idx="1673">
                  <c:v>106.00266666666666</c:v>
                </c:pt>
                <c:pt idx="1674">
                  <c:v>104.01816666666667</c:v>
                </c:pt>
                <c:pt idx="1675">
                  <c:v>103.45966666666665</c:v>
                </c:pt>
                <c:pt idx="1676">
                  <c:v>105.10983333333333</c:v>
                </c:pt>
                <c:pt idx="1677">
                  <c:v>106.27200000000001</c:v>
                </c:pt>
                <c:pt idx="1678">
                  <c:v>105.67399999999999</c:v>
                </c:pt>
                <c:pt idx="1679">
                  <c:v>105.34400000000001</c:v>
                </c:pt>
                <c:pt idx="1680">
                  <c:v>103.54283333333335</c:v>
                </c:pt>
                <c:pt idx="1681">
                  <c:v>100.92766666666667</c:v>
                </c:pt>
                <c:pt idx="1682">
                  <c:v>100.13833333333334</c:v>
                </c:pt>
                <c:pt idx="1683">
                  <c:v>98.745000000000005</c:v>
                </c:pt>
                <c:pt idx="1684">
                  <c:v>94.89766666666668</c:v>
                </c:pt>
                <c:pt idx="1685">
                  <c:v>92.018666666666675</c:v>
                </c:pt>
                <c:pt idx="1686">
                  <c:v>90.805166666666665</c:v>
                </c:pt>
                <c:pt idx="1687">
                  <c:v>90.595333333333329</c:v>
                </c:pt>
                <c:pt idx="1688">
                  <c:v>90.262166666666658</c:v>
                </c:pt>
                <c:pt idx="1689">
                  <c:v>90.486666666666665</c:v>
                </c:pt>
                <c:pt idx="1690">
                  <c:v>89.163999999999987</c:v>
                </c:pt>
                <c:pt idx="1691">
                  <c:v>89.369000000000014</c:v>
                </c:pt>
                <c:pt idx="1692">
                  <c:v>90.02300000000001</c:v>
                </c:pt>
                <c:pt idx="1693">
                  <c:v>90.56816666666667</c:v>
                </c:pt>
                <c:pt idx="1694">
                  <c:v>89.951666666666654</c:v>
                </c:pt>
                <c:pt idx="1695">
                  <c:v>89.104333333333329</c:v>
                </c:pt>
                <c:pt idx="1696">
                  <c:v>97.42649999999999</c:v>
                </c:pt>
                <c:pt idx="1697">
                  <c:v>98.585833333333326</c:v>
                </c:pt>
                <c:pt idx="1698">
                  <c:v>101.377</c:v>
                </c:pt>
                <c:pt idx="1699">
                  <c:v>102.08866666666667</c:v>
                </c:pt>
                <c:pt idx="1700">
                  <c:v>102.27749999999999</c:v>
                </c:pt>
                <c:pt idx="1701">
                  <c:v>102.24299999999999</c:v>
                </c:pt>
                <c:pt idx="1702">
                  <c:v>101.89516666666664</c:v>
                </c:pt>
                <c:pt idx="1703">
                  <c:v>105.28366666666666</c:v>
                </c:pt>
                <c:pt idx="1704">
                  <c:v>106.73666666666666</c:v>
                </c:pt>
                <c:pt idx="1705">
                  <c:v>106.18650000000001</c:v>
                </c:pt>
                <c:pt idx="1706">
                  <c:v>105.46166666666666</c:v>
                </c:pt>
                <c:pt idx="1707">
                  <c:v>105.89033333333333</c:v>
                </c:pt>
                <c:pt idx="1708">
                  <c:v>107.20916666666666</c:v>
                </c:pt>
                <c:pt idx="1709">
                  <c:v>106.46133333333334</c:v>
                </c:pt>
                <c:pt idx="1710">
                  <c:v>104.44216666666667</c:v>
                </c:pt>
                <c:pt idx="1711">
                  <c:v>101.63383333333331</c:v>
                </c:pt>
                <c:pt idx="1712">
                  <c:v>101.59383333333334</c:v>
                </c:pt>
                <c:pt idx="1713">
                  <c:v>100.26133333333333</c:v>
                </c:pt>
                <c:pt idx="1714">
                  <c:v>98.943333333333328</c:v>
                </c:pt>
                <c:pt idx="1715">
                  <c:v>97.290999999999997</c:v>
                </c:pt>
                <c:pt idx="1716">
                  <c:v>96.289833333333334</c:v>
                </c:pt>
                <c:pt idx="1717">
                  <c:v>95.682666666666663</c:v>
                </c:pt>
                <c:pt idx="1718">
                  <c:v>94.591999999999999</c:v>
                </c:pt>
                <c:pt idx="1719">
                  <c:v>93.503</c:v>
                </c:pt>
                <c:pt idx="1720">
                  <c:v>91.837000000000003</c:v>
                </c:pt>
                <c:pt idx="1721">
                  <c:v>89.657666666666671</c:v>
                </c:pt>
                <c:pt idx="1722">
                  <c:v>88.491500000000016</c:v>
                </c:pt>
                <c:pt idx="1723">
                  <c:v>88.073999999999998</c:v>
                </c:pt>
                <c:pt idx="1724">
                  <c:v>91.55616666666667</c:v>
                </c:pt>
                <c:pt idx="1725">
                  <c:v>93.828500000000005</c:v>
                </c:pt>
                <c:pt idx="1726">
                  <c:v>92.983999999999995</c:v>
                </c:pt>
                <c:pt idx="1727">
                  <c:v>89.523166666666668</c:v>
                </c:pt>
                <c:pt idx="1728">
                  <c:v>90.02</c:v>
                </c:pt>
                <c:pt idx="1729">
                  <c:v>90.621166666666682</c:v>
                </c:pt>
                <c:pt idx="1730">
                  <c:v>88.81049999999999</c:v>
                </c:pt>
                <c:pt idx="1731">
                  <c:v>88.780666666666662</c:v>
                </c:pt>
                <c:pt idx="1732">
                  <c:v>89.735500000000002</c:v>
                </c:pt>
                <c:pt idx="1733">
                  <c:v>90.510833333333338</c:v>
                </c:pt>
                <c:pt idx="1734">
                  <c:v>92.55383333333333</c:v>
                </c:pt>
                <c:pt idx="1735">
                  <c:v>94.381166666666672</c:v>
                </c:pt>
                <c:pt idx="1736">
                  <c:v>92.853000000000009</c:v>
                </c:pt>
                <c:pt idx="1737">
                  <c:v>93.62833333333333</c:v>
                </c:pt>
                <c:pt idx="1738">
                  <c:v>95.222666666666669</c:v>
                </c:pt>
                <c:pt idx="1739">
                  <c:v>97.111500000000021</c:v>
                </c:pt>
                <c:pt idx="1740">
                  <c:v>96.449333333333314</c:v>
                </c:pt>
                <c:pt idx="1741">
                  <c:v>96.269833333333338</c:v>
                </c:pt>
                <c:pt idx="1742">
                  <c:v>96.041666666666671</c:v>
                </c:pt>
                <c:pt idx="1743">
                  <c:v>96.07616666666668</c:v>
                </c:pt>
                <c:pt idx="1744">
                  <c:v>95.904499999999999</c:v>
                </c:pt>
                <c:pt idx="1745">
                  <c:v>96.423333333333346</c:v>
                </c:pt>
                <c:pt idx="1746">
                  <c:v>95.918000000000006</c:v>
                </c:pt>
                <c:pt idx="1747">
                  <c:v>96.139499999999998</c:v>
                </c:pt>
                <c:pt idx="1748">
                  <c:v>97.530166666666659</c:v>
                </c:pt>
                <c:pt idx="1749">
                  <c:v>95.689333333333323</c:v>
                </c:pt>
                <c:pt idx="1750">
                  <c:v>94.185666666666677</c:v>
                </c:pt>
                <c:pt idx="1751">
                  <c:v>92.434833333333344</c:v>
                </c:pt>
                <c:pt idx="1752">
                  <c:v>91.138500000000008</c:v>
                </c:pt>
                <c:pt idx="1753">
                  <c:v>91.242166666666662</c:v>
                </c:pt>
                <c:pt idx="1754">
                  <c:v>89.08016666666667</c:v>
                </c:pt>
                <c:pt idx="1755">
                  <c:v>85.509333333333345</c:v>
                </c:pt>
                <c:pt idx="1756">
                  <c:v>83.438833333333335</c:v>
                </c:pt>
                <c:pt idx="1757">
                  <c:v>82.116</c:v>
                </c:pt>
                <c:pt idx="1758">
                  <c:v>81.350833333333341</c:v>
                </c:pt>
                <c:pt idx="1759">
                  <c:v>81.255999999999986</c:v>
                </c:pt>
                <c:pt idx="1760">
                  <c:v>82.449666666666673</c:v>
                </c:pt>
                <c:pt idx="1761">
                  <c:v>82.63600000000001</c:v>
                </c:pt>
                <c:pt idx="1762">
                  <c:v>82.421166666666679</c:v>
                </c:pt>
                <c:pt idx="1763">
                  <c:v>82.522999999999996</c:v>
                </c:pt>
                <c:pt idx="1764">
                  <c:v>82.581000000000003</c:v>
                </c:pt>
                <c:pt idx="1765">
                  <c:v>82.428833333333344</c:v>
                </c:pt>
                <c:pt idx="1766">
                  <c:v>81.565666666666672</c:v>
                </c:pt>
                <c:pt idx="1767">
                  <c:v>80.738500000000002</c:v>
                </c:pt>
                <c:pt idx="1768">
                  <c:v>81.067999999999998</c:v>
                </c:pt>
                <c:pt idx="1769">
                  <c:v>80.880166666666653</c:v>
                </c:pt>
                <c:pt idx="1770">
                  <c:v>78.609333333333325</c:v>
                </c:pt>
                <c:pt idx="1771">
                  <c:v>80.436999999999998</c:v>
                </c:pt>
                <c:pt idx="1772">
                  <c:v>80.838499999999996</c:v>
                </c:pt>
                <c:pt idx="1773">
                  <c:v>80.472333333333339</c:v>
                </c:pt>
                <c:pt idx="1774">
                  <c:v>79.313333333333318</c:v>
                </c:pt>
                <c:pt idx="1775">
                  <c:v>79.013000000000005</c:v>
                </c:pt>
                <c:pt idx="1776">
                  <c:v>79.914666666666676</c:v>
                </c:pt>
                <c:pt idx="1777">
                  <c:v>81.102999999999994</c:v>
                </c:pt>
                <c:pt idx="1778">
                  <c:v>81.053166666666669</c:v>
                </c:pt>
                <c:pt idx="1779">
                  <c:v>80.984333333333339</c:v>
                </c:pt>
                <c:pt idx="1780">
                  <c:v>80.207000000000008</c:v>
                </c:pt>
                <c:pt idx="1781">
                  <c:v>80.806333333333342</c:v>
                </c:pt>
                <c:pt idx="1782">
                  <c:v>80.884999999999991</c:v>
                </c:pt>
                <c:pt idx="1783">
                  <c:v>82.285999999999987</c:v>
                </c:pt>
                <c:pt idx="1784">
                  <c:v>82.948999999999998</c:v>
                </c:pt>
                <c:pt idx="1785">
                  <c:v>84.218666666666664</c:v>
                </c:pt>
                <c:pt idx="1786">
                  <c:v>85.437666666666686</c:v>
                </c:pt>
                <c:pt idx="1787">
                  <c:v>88.583500000000001</c:v>
                </c:pt>
                <c:pt idx="1788">
                  <c:v>87.231166666666653</c:v>
                </c:pt>
                <c:pt idx="1789">
                  <c:v>84.300000000000011</c:v>
                </c:pt>
                <c:pt idx="1790">
                  <c:v>86.666333333333341</c:v>
                </c:pt>
                <c:pt idx="1791">
                  <c:v>88.288166666666669</c:v>
                </c:pt>
                <c:pt idx="1792">
                  <c:v>88.057166666666674</c:v>
                </c:pt>
                <c:pt idx="1793">
                  <c:v>84.814666666666668</c:v>
                </c:pt>
                <c:pt idx="1794">
                  <c:v>82.072000000000017</c:v>
                </c:pt>
                <c:pt idx="1795">
                  <c:v>82.329166666666666</c:v>
                </c:pt>
                <c:pt idx="1796">
                  <c:v>84.25266666666667</c:v>
                </c:pt>
                <c:pt idx="1797">
                  <c:v>85.044666666666657</c:v>
                </c:pt>
                <c:pt idx="1798">
                  <c:v>82.927166666666679</c:v>
                </c:pt>
                <c:pt idx="1799">
                  <c:v>81.484166666666667</c:v>
                </c:pt>
                <c:pt idx="1800">
                  <c:v>81.410666666666671</c:v>
                </c:pt>
                <c:pt idx="1801">
                  <c:v>80.066166666666675</c:v>
                </c:pt>
                <c:pt idx="1802">
                  <c:v>79.668166666666664</c:v>
                </c:pt>
                <c:pt idx="1803">
                  <c:v>79.613666666666674</c:v>
                </c:pt>
                <c:pt idx="1804">
                  <c:v>78.853833333333327</c:v>
                </c:pt>
                <c:pt idx="1805">
                  <c:v>78.808666666666667</c:v>
                </c:pt>
                <c:pt idx="1806">
                  <c:v>79.658833333333334</c:v>
                </c:pt>
                <c:pt idx="1807">
                  <c:v>84.137</c:v>
                </c:pt>
                <c:pt idx="1808">
                  <c:v>86.254166666666663</c:v>
                </c:pt>
                <c:pt idx="1809">
                  <c:v>88.869500000000002</c:v>
                </c:pt>
                <c:pt idx="1810">
                  <c:v>94.826999999999998</c:v>
                </c:pt>
                <c:pt idx="1811">
                  <c:v>105.56833333333333</c:v>
                </c:pt>
                <c:pt idx="1812">
                  <c:v>104.2915</c:v>
                </c:pt>
                <c:pt idx="1813">
                  <c:v>101.15016666666666</c:v>
                </c:pt>
                <c:pt idx="1814">
                  <c:v>97.806833333333316</c:v>
                </c:pt>
                <c:pt idx="1815">
                  <c:v>103.04816666666666</c:v>
                </c:pt>
                <c:pt idx="1816">
                  <c:v>112.58416666666666</c:v>
                </c:pt>
                <c:pt idx="1817">
                  <c:v>147.07683333333333</c:v>
                </c:pt>
                <c:pt idx="1818">
                  <c:v>142.57216666666667</c:v>
                </c:pt>
                <c:pt idx="1819">
                  <c:v>185.1635</c:v>
                </c:pt>
                <c:pt idx="1820">
                  <c:v>229.99533333333332</c:v>
                </c:pt>
                <c:pt idx="1821">
                  <c:v>198.36666666666667</c:v>
                </c:pt>
                <c:pt idx="1822">
                  <c:v>237.85650000000001</c:v>
                </c:pt>
                <c:pt idx="1823">
                  <c:v>230.40133333333335</c:v>
                </c:pt>
                <c:pt idx="1824">
                  <c:v>269.38499999999993</c:v>
                </c:pt>
                <c:pt idx="1825">
                  <c:v>268.65949999999998</c:v>
                </c:pt>
                <c:pt idx="1826">
                  <c:v>263.642</c:v>
                </c:pt>
                <c:pt idx="1827">
                  <c:v>286.67866666666669</c:v>
                </c:pt>
                <c:pt idx="1828">
                  <c:v>252.69200000000001</c:v>
                </c:pt>
                <c:pt idx="1829">
                  <c:v>203.24566666666666</c:v>
                </c:pt>
                <c:pt idx="1830">
                  <c:v>197.40949999999998</c:v>
                </c:pt>
                <c:pt idx="1831">
                  <c:v>221.59699999999998</c:v>
                </c:pt>
                <c:pt idx="1832">
                  <c:v>233.9613333333333</c:v>
                </c:pt>
                <c:pt idx="1833">
                  <c:v>231.8656666666667</c:v>
                </c:pt>
                <c:pt idx="1834">
                  <c:v>264.06983333333335</c:v>
                </c:pt>
                <c:pt idx="1835">
                  <c:v>269.99216666666672</c:v>
                </c:pt>
                <c:pt idx="1836">
                  <c:v>279.74549999999999</c:v>
                </c:pt>
                <c:pt idx="1837">
                  <c:v>271.92016666666672</c:v>
                </c:pt>
                <c:pt idx="1838">
                  <c:v>254.72749999999999</c:v>
                </c:pt>
                <c:pt idx="1839">
                  <c:v>245.39866666666668</c:v>
                </c:pt>
                <c:pt idx="1840">
                  <c:v>220.149</c:v>
                </c:pt>
                <c:pt idx="1841">
                  <c:v>220.01483333333331</c:v>
                </c:pt>
                <c:pt idx="1842">
                  <c:v>215.13499999999999</c:v>
                </c:pt>
                <c:pt idx="1843">
                  <c:v>247.81233333333333</c:v>
                </c:pt>
                <c:pt idx="1844">
                  <c:v>251.42150000000001</c:v>
                </c:pt>
                <c:pt idx="1845">
                  <c:v>250.88433333333333</c:v>
                </c:pt>
                <c:pt idx="1846">
                  <c:v>259.42416666666668</c:v>
                </c:pt>
                <c:pt idx="1847">
                  <c:v>261.92016666666672</c:v>
                </c:pt>
                <c:pt idx="1848">
                  <c:v>259.86916666666662</c:v>
                </c:pt>
                <c:pt idx="1849">
                  <c:v>242.14266666666666</c:v>
                </c:pt>
                <c:pt idx="1850">
                  <c:v>234.98966666666669</c:v>
                </c:pt>
                <c:pt idx="1851">
                  <c:v>239.12199999999999</c:v>
                </c:pt>
                <c:pt idx="1852">
                  <c:v>242.8133333333333</c:v>
                </c:pt>
                <c:pt idx="1853">
                  <c:v>235.45816666666664</c:v>
                </c:pt>
                <c:pt idx="1854">
                  <c:v>236.40233333333336</c:v>
                </c:pt>
                <c:pt idx="1855">
                  <c:v>234.19083333333333</c:v>
                </c:pt>
                <c:pt idx="1856">
                  <c:v>229.97816666666665</c:v>
                </c:pt>
                <c:pt idx="1857">
                  <c:v>226.34066666666669</c:v>
                </c:pt>
                <c:pt idx="1858">
                  <c:v>224.11283333333336</c:v>
                </c:pt>
                <c:pt idx="1859">
                  <c:v>231.35683333333336</c:v>
                </c:pt>
                <c:pt idx="1860">
                  <c:v>239.57399999999996</c:v>
                </c:pt>
                <c:pt idx="1861">
                  <c:v>238.89749999999995</c:v>
                </c:pt>
                <c:pt idx="1862">
                  <c:v>227.40383333333332</c:v>
                </c:pt>
                <c:pt idx="1863">
                  <c:v>222.30916666666667</c:v>
                </c:pt>
                <c:pt idx="1864">
                  <c:v>209.5718333333333</c:v>
                </c:pt>
                <c:pt idx="1865">
                  <c:v>201.85749999999999</c:v>
                </c:pt>
                <c:pt idx="1866">
                  <c:v>206.50533333333337</c:v>
                </c:pt>
                <c:pt idx="1867">
                  <c:v>208.10900000000004</c:v>
                </c:pt>
                <c:pt idx="1868">
                  <c:v>191.05999999999997</c:v>
                </c:pt>
                <c:pt idx="1869">
                  <c:v>187.62966666666668</c:v>
                </c:pt>
                <c:pt idx="1870">
                  <c:v>189.64083333333335</c:v>
                </c:pt>
                <c:pt idx="1871">
                  <c:v>155.57016666666667</c:v>
                </c:pt>
                <c:pt idx="1872">
                  <c:v>143.71733333333333</c:v>
                </c:pt>
                <c:pt idx="1873">
                  <c:v>140.07116666666667</c:v>
                </c:pt>
                <c:pt idx="1874">
                  <c:v>146.51416666666668</c:v>
                </c:pt>
                <c:pt idx="1875">
                  <c:v>150.38983333333334</c:v>
                </c:pt>
                <c:pt idx="1876">
                  <c:v>172.928</c:v>
                </c:pt>
                <c:pt idx="1877">
                  <c:v>174.63383333333331</c:v>
                </c:pt>
                <c:pt idx="1878">
                  <c:v>174.351</c:v>
                </c:pt>
                <c:pt idx="1879">
                  <c:v>159.19000000000003</c:v>
                </c:pt>
                <c:pt idx="1880">
                  <c:v>161.72316666666666</c:v>
                </c:pt>
                <c:pt idx="1881">
                  <c:v>165.33283333333333</c:v>
                </c:pt>
                <c:pt idx="1882">
                  <c:v>162.81983333333332</c:v>
                </c:pt>
                <c:pt idx="1883">
                  <c:v>164.53766666666667</c:v>
                </c:pt>
                <c:pt idx="1884">
                  <c:v>160.62616666666665</c:v>
                </c:pt>
                <c:pt idx="1885">
                  <c:v>167.10533333333333</c:v>
                </c:pt>
                <c:pt idx="1886">
                  <c:v>169.77916666666667</c:v>
                </c:pt>
                <c:pt idx="1887">
                  <c:v>171.328</c:v>
                </c:pt>
                <c:pt idx="1888">
                  <c:v>172.95416666666668</c:v>
                </c:pt>
                <c:pt idx="1889">
                  <c:v>169.13683333333333</c:v>
                </c:pt>
                <c:pt idx="1890">
                  <c:v>162.36416666666665</c:v>
                </c:pt>
                <c:pt idx="1891">
                  <c:v>154.292</c:v>
                </c:pt>
                <c:pt idx="1892">
                  <c:v>152.11150000000001</c:v>
                </c:pt>
                <c:pt idx="1893">
                  <c:v>152.22866666666667</c:v>
                </c:pt>
                <c:pt idx="1894">
                  <c:v>155.15899999999999</c:v>
                </c:pt>
                <c:pt idx="1895">
                  <c:v>158.2345</c:v>
                </c:pt>
                <c:pt idx="1896">
                  <c:v>161.50983333333335</c:v>
                </c:pt>
                <c:pt idx="1897">
                  <c:v>162.81683333333334</c:v>
                </c:pt>
                <c:pt idx="1898">
                  <c:v>162.28483333333335</c:v>
                </c:pt>
                <c:pt idx="1899">
                  <c:v>164.41533333333334</c:v>
                </c:pt>
                <c:pt idx="1900">
                  <c:v>162.80866666666668</c:v>
                </c:pt>
                <c:pt idx="1901">
                  <c:v>165.45349999999999</c:v>
                </c:pt>
                <c:pt idx="1902">
                  <c:v>163.57733333333334</c:v>
                </c:pt>
                <c:pt idx="1903">
                  <c:v>158.27700000000002</c:v>
                </c:pt>
                <c:pt idx="1904">
                  <c:v>149.55816666666666</c:v>
                </c:pt>
                <c:pt idx="1905">
                  <c:v>145.44416666666666</c:v>
                </c:pt>
                <c:pt idx="1906">
                  <c:v>148.29250000000002</c:v>
                </c:pt>
                <c:pt idx="1907">
                  <c:v>152.36316666666667</c:v>
                </c:pt>
                <c:pt idx="1908">
                  <c:v>150.392</c:v>
                </c:pt>
                <c:pt idx="1909">
                  <c:v>152.84399999999999</c:v>
                </c:pt>
                <c:pt idx="1910">
                  <c:v>151.10083333333333</c:v>
                </c:pt>
                <c:pt idx="1911">
                  <c:v>154.18966666666665</c:v>
                </c:pt>
                <c:pt idx="1912">
                  <c:v>152.84466666666665</c:v>
                </c:pt>
                <c:pt idx="1913">
                  <c:v>153.3208333333333</c:v>
                </c:pt>
                <c:pt idx="1914">
                  <c:v>154.53383333333332</c:v>
                </c:pt>
                <c:pt idx="1915">
                  <c:v>151.64349999999999</c:v>
                </c:pt>
                <c:pt idx="1916">
                  <c:v>150.25133333333332</c:v>
                </c:pt>
                <c:pt idx="1917">
                  <c:v>149.97733333333332</c:v>
                </c:pt>
                <c:pt idx="1918">
                  <c:v>149.28349999999998</c:v>
                </c:pt>
                <c:pt idx="1919">
                  <c:v>144.38999999999999</c:v>
                </c:pt>
                <c:pt idx="1920">
                  <c:v>144.18533333333332</c:v>
                </c:pt>
                <c:pt idx="1921">
                  <c:v>145.96700000000001</c:v>
                </c:pt>
                <c:pt idx="1922">
                  <c:v>148.88716666666667</c:v>
                </c:pt>
                <c:pt idx="1923">
                  <c:v>149.03449999999998</c:v>
                </c:pt>
                <c:pt idx="1924">
                  <c:v>146.09383333333335</c:v>
                </c:pt>
                <c:pt idx="1925">
                  <c:v>144.80033333333333</c:v>
                </c:pt>
                <c:pt idx="1926">
                  <c:v>146.12249999999997</c:v>
                </c:pt>
                <c:pt idx="1927">
                  <c:v>144.85683333333336</c:v>
                </c:pt>
                <c:pt idx="1928">
                  <c:v>140.56116666666665</c:v>
                </c:pt>
                <c:pt idx="1929">
                  <c:v>140.1815</c:v>
                </c:pt>
                <c:pt idx="1930">
                  <c:v>141.45916666666668</c:v>
                </c:pt>
                <c:pt idx="1931">
                  <c:v>142.66499999999999</c:v>
                </c:pt>
                <c:pt idx="1932">
                  <c:v>139.51483333333331</c:v>
                </c:pt>
                <c:pt idx="1933">
                  <c:v>138.39099999999999</c:v>
                </c:pt>
                <c:pt idx="1934">
                  <c:v>132.94466666666668</c:v>
                </c:pt>
                <c:pt idx="1935">
                  <c:v>127.25633333333333</c:v>
                </c:pt>
                <c:pt idx="1936">
                  <c:v>131.04733333333334</c:v>
                </c:pt>
                <c:pt idx="1937">
                  <c:v>133.05533333333332</c:v>
                </c:pt>
                <c:pt idx="1938">
                  <c:v>133.83233333333331</c:v>
                </c:pt>
                <c:pt idx="1939">
                  <c:v>136.94433333333333</c:v>
                </c:pt>
                <c:pt idx="1940">
                  <c:v>134.64233333333331</c:v>
                </c:pt>
                <c:pt idx="1941">
                  <c:v>134.69033333333334</c:v>
                </c:pt>
                <c:pt idx="1942">
                  <c:v>135.23983333333334</c:v>
                </c:pt>
                <c:pt idx="1943">
                  <c:v>133.92483333333334</c:v>
                </c:pt>
                <c:pt idx="1944">
                  <c:v>131.41433333333333</c:v>
                </c:pt>
                <c:pt idx="1945">
                  <c:v>130.36199999999999</c:v>
                </c:pt>
                <c:pt idx="1946">
                  <c:v>132.33016666666666</c:v>
                </c:pt>
                <c:pt idx="1947">
                  <c:v>133.29166666666666</c:v>
                </c:pt>
                <c:pt idx="1948">
                  <c:v>152.47766666666666</c:v>
                </c:pt>
                <c:pt idx="1949">
                  <c:v>155.47</c:v>
                </c:pt>
                <c:pt idx="1950">
                  <c:v>161.90633333333332</c:v>
                </c:pt>
                <c:pt idx="1951">
                  <c:v>166.77466666666666</c:v>
                </c:pt>
                <c:pt idx="1952">
                  <c:v>164.70949999999999</c:v>
                </c:pt>
                <c:pt idx="1953">
                  <c:v>161.84200000000001</c:v>
                </c:pt>
                <c:pt idx="1954">
                  <c:v>161.96766666666667</c:v>
                </c:pt>
                <c:pt idx="1955">
                  <c:v>159.99516666666668</c:v>
                </c:pt>
                <c:pt idx="1956">
                  <c:v>157.01616666666669</c:v>
                </c:pt>
                <c:pt idx="1957">
                  <c:v>157.41183333333333</c:v>
                </c:pt>
                <c:pt idx="1958">
                  <c:v>151.01500000000001</c:v>
                </c:pt>
                <c:pt idx="1959">
                  <c:v>146.34133333333335</c:v>
                </c:pt>
                <c:pt idx="1960">
                  <c:v>142.72566666666668</c:v>
                </c:pt>
                <c:pt idx="1961">
                  <c:v>139.63233333333332</c:v>
                </c:pt>
                <c:pt idx="1962">
                  <c:v>134.09983333333332</c:v>
                </c:pt>
                <c:pt idx="1963">
                  <c:v>132.6885</c:v>
                </c:pt>
                <c:pt idx="1964">
                  <c:v>134.18083333333334</c:v>
                </c:pt>
                <c:pt idx="1965">
                  <c:v>137.00483333333332</c:v>
                </c:pt>
                <c:pt idx="1966">
                  <c:v>139.18683333333334</c:v>
                </c:pt>
                <c:pt idx="1967">
                  <c:v>136.5805</c:v>
                </c:pt>
                <c:pt idx="1968">
                  <c:v>134.75366666666667</c:v>
                </c:pt>
                <c:pt idx="1969">
                  <c:v>134.14083333333335</c:v>
                </c:pt>
                <c:pt idx="1970">
                  <c:v>132.53683333333333</c:v>
                </c:pt>
                <c:pt idx="1971">
                  <c:v>132.44750000000002</c:v>
                </c:pt>
                <c:pt idx="1972">
                  <c:v>132.14333333333335</c:v>
                </c:pt>
                <c:pt idx="1973">
                  <c:v>134.53566666666669</c:v>
                </c:pt>
                <c:pt idx="1974">
                  <c:v>133.58533333333332</c:v>
                </c:pt>
                <c:pt idx="1975">
                  <c:v>138.12950000000001</c:v>
                </c:pt>
                <c:pt idx="1976">
                  <c:v>137.49016666666665</c:v>
                </c:pt>
                <c:pt idx="1977">
                  <c:v>138.44383333333334</c:v>
                </c:pt>
                <c:pt idx="1978">
                  <c:v>138.46016666666665</c:v>
                </c:pt>
                <c:pt idx="1979">
                  <c:v>134.06316666666666</c:v>
                </c:pt>
                <c:pt idx="1980">
                  <c:v>130.14850000000001</c:v>
                </c:pt>
                <c:pt idx="1981">
                  <c:v>123.08783333333334</c:v>
                </c:pt>
                <c:pt idx="1982">
                  <c:v>120.78883333333334</c:v>
                </c:pt>
                <c:pt idx="1983">
                  <c:v>108.57116666666667</c:v>
                </c:pt>
                <c:pt idx="1984">
                  <c:v>107.08049999999999</c:v>
                </c:pt>
                <c:pt idx="1985">
                  <c:v>105.29983333333332</c:v>
                </c:pt>
                <c:pt idx="1986">
                  <c:v>110.29466666666667</c:v>
                </c:pt>
                <c:pt idx="1987">
                  <c:v>111.8935</c:v>
                </c:pt>
                <c:pt idx="1988">
                  <c:v>110.63383333333336</c:v>
                </c:pt>
                <c:pt idx="1989">
                  <c:v>111.57233333333333</c:v>
                </c:pt>
                <c:pt idx="1990">
                  <c:v>110.91116666666669</c:v>
                </c:pt>
                <c:pt idx="1991">
                  <c:v>112.25099999999999</c:v>
                </c:pt>
                <c:pt idx="1992">
                  <c:v>112.687</c:v>
                </c:pt>
                <c:pt idx="1993">
                  <c:v>114.0645</c:v>
                </c:pt>
                <c:pt idx="1994">
                  <c:v>110.33983333333333</c:v>
                </c:pt>
                <c:pt idx="1995">
                  <c:v>110.88783333333333</c:v>
                </c:pt>
                <c:pt idx="1996">
                  <c:v>111.26266666666665</c:v>
                </c:pt>
                <c:pt idx="1997">
                  <c:v>110.22233333333332</c:v>
                </c:pt>
                <c:pt idx="1998">
                  <c:v>110.16483333333333</c:v>
                </c:pt>
                <c:pt idx="1999">
                  <c:v>106.66266666666667</c:v>
                </c:pt>
                <c:pt idx="2000">
                  <c:v>106.01933333333334</c:v>
                </c:pt>
                <c:pt idx="2001">
                  <c:v>103.15016666666666</c:v>
                </c:pt>
                <c:pt idx="2002">
                  <c:v>101.9525</c:v>
                </c:pt>
                <c:pt idx="2003">
                  <c:v>99.875</c:v>
                </c:pt>
                <c:pt idx="2004">
                  <c:v>100.03950000000002</c:v>
                </c:pt>
                <c:pt idx="2005">
                  <c:v>100.44533333333334</c:v>
                </c:pt>
                <c:pt idx="2006">
                  <c:v>100.80416666666667</c:v>
                </c:pt>
                <c:pt idx="2007">
                  <c:v>101.37283333333333</c:v>
                </c:pt>
                <c:pt idx="2008">
                  <c:v>100.02583333333332</c:v>
                </c:pt>
                <c:pt idx="2009">
                  <c:v>99.233499999999992</c:v>
                </c:pt>
                <c:pt idx="2010">
                  <c:v>97.805166666666651</c:v>
                </c:pt>
                <c:pt idx="2011">
                  <c:v>96.71</c:v>
                </c:pt>
                <c:pt idx="2012">
                  <c:v>97.279499999999999</c:v>
                </c:pt>
                <c:pt idx="2013">
                  <c:v>101.04733333333333</c:v>
                </c:pt>
                <c:pt idx="2014">
                  <c:v>100.65050000000001</c:v>
                </c:pt>
                <c:pt idx="2015">
                  <c:v>99.700333333333333</c:v>
                </c:pt>
                <c:pt idx="2016">
                  <c:v>99.696333333333328</c:v>
                </c:pt>
                <c:pt idx="2017">
                  <c:v>99.500833333333333</c:v>
                </c:pt>
                <c:pt idx="2018">
                  <c:v>99.696500000000015</c:v>
                </c:pt>
                <c:pt idx="2019">
                  <c:v>98.241499999999988</c:v>
                </c:pt>
                <c:pt idx="2020">
                  <c:v>97.198000000000022</c:v>
                </c:pt>
                <c:pt idx="2021">
                  <c:v>96.40000000000002</c:v>
                </c:pt>
                <c:pt idx="2022">
                  <c:v>97.117166666666662</c:v>
                </c:pt>
                <c:pt idx="2023">
                  <c:v>96.94783333333335</c:v>
                </c:pt>
                <c:pt idx="2024">
                  <c:v>100.86483333333332</c:v>
                </c:pt>
                <c:pt idx="2025">
                  <c:v>101.37616666666668</c:v>
                </c:pt>
                <c:pt idx="2026">
                  <c:v>101.91200000000002</c:v>
                </c:pt>
                <c:pt idx="2027">
                  <c:v>101.20533333333333</c:v>
                </c:pt>
                <c:pt idx="2028">
                  <c:v>104.54899999999999</c:v>
                </c:pt>
                <c:pt idx="2029">
                  <c:v>106.65950000000002</c:v>
                </c:pt>
                <c:pt idx="2030">
                  <c:v>106.05799999999999</c:v>
                </c:pt>
                <c:pt idx="2031">
                  <c:v>105.72316666666667</c:v>
                </c:pt>
                <c:pt idx="2032">
                  <c:v>110.28750000000001</c:v>
                </c:pt>
                <c:pt idx="2033">
                  <c:v>110.79300000000001</c:v>
                </c:pt>
                <c:pt idx="2034">
                  <c:v>109.3415</c:v>
                </c:pt>
                <c:pt idx="2035">
                  <c:v>108.21966666666667</c:v>
                </c:pt>
                <c:pt idx="2036">
                  <c:v>107.51516666666667</c:v>
                </c:pt>
                <c:pt idx="2037">
                  <c:v>110.026</c:v>
                </c:pt>
                <c:pt idx="2038">
                  <c:v>112.00516666666665</c:v>
                </c:pt>
                <c:pt idx="2039">
                  <c:v>110.99250000000001</c:v>
                </c:pt>
                <c:pt idx="2040">
                  <c:v>112.9235</c:v>
                </c:pt>
                <c:pt idx="2041">
                  <c:v>111.95283333333332</c:v>
                </c:pt>
                <c:pt idx="2042">
                  <c:v>111.67483333333332</c:v>
                </c:pt>
                <c:pt idx="2043">
                  <c:v>109.93516666666666</c:v>
                </c:pt>
                <c:pt idx="2044">
                  <c:v>107.05166666666666</c:v>
                </c:pt>
                <c:pt idx="2045">
                  <c:v>104.18599999999999</c:v>
                </c:pt>
                <c:pt idx="2046">
                  <c:v>102.05366666666664</c:v>
                </c:pt>
                <c:pt idx="2047">
                  <c:v>98.970166666666657</c:v>
                </c:pt>
                <c:pt idx="2048">
                  <c:v>99.271166666666659</c:v>
                </c:pt>
                <c:pt idx="2049">
                  <c:v>101.22033333333331</c:v>
                </c:pt>
                <c:pt idx="2050">
                  <c:v>101.05516666666666</c:v>
                </c:pt>
                <c:pt idx="2051">
                  <c:v>99.942666666666653</c:v>
                </c:pt>
                <c:pt idx="2052">
                  <c:v>100.76049999999999</c:v>
                </c:pt>
                <c:pt idx="2053">
                  <c:v>99.162500000000009</c:v>
                </c:pt>
                <c:pt idx="2054">
                  <c:v>100.96533333333333</c:v>
                </c:pt>
                <c:pt idx="2055">
                  <c:v>101.25183333333332</c:v>
                </c:pt>
                <c:pt idx="2056">
                  <c:v>101.30183333333333</c:v>
                </c:pt>
                <c:pt idx="2057">
                  <c:v>102.42649999999999</c:v>
                </c:pt>
                <c:pt idx="2058">
                  <c:v>108.76650000000001</c:v>
                </c:pt>
                <c:pt idx="2059">
                  <c:v>107.52916666666668</c:v>
                </c:pt>
                <c:pt idx="2060">
                  <c:v>104.65350000000001</c:v>
                </c:pt>
                <c:pt idx="2061">
                  <c:v>110.39783333333332</c:v>
                </c:pt>
                <c:pt idx="2062">
                  <c:v>117.75333333333333</c:v>
                </c:pt>
                <c:pt idx="2063">
                  <c:v>113.50266666666666</c:v>
                </c:pt>
                <c:pt idx="2064">
                  <c:v>113.84633333333333</c:v>
                </c:pt>
                <c:pt idx="2065">
                  <c:v>115.39116666666666</c:v>
                </c:pt>
                <c:pt idx="2066">
                  <c:v>117.81466666666667</c:v>
                </c:pt>
                <c:pt idx="2067">
                  <c:v>119.79949999999998</c:v>
                </c:pt>
                <c:pt idx="2068">
                  <c:v>126.43366666666667</c:v>
                </c:pt>
                <c:pt idx="2069">
                  <c:v>125.16016666666667</c:v>
                </c:pt>
                <c:pt idx="2070">
                  <c:v>122.00099999999999</c:v>
                </c:pt>
                <c:pt idx="2071">
                  <c:v>113.31783333333334</c:v>
                </c:pt>
                <c:pt idx="2072">
                  <c:v>115.1955</c:v>
                </c:pt>
                <c:pt idx="2073">
                  <c:v>115.23983333333335</c:v>
                </c:pt>
                <c:pt idx="2074">
                  <c:v>114.46583333333335</c:v>
                </c:pt>
                <c:pt idx="2075">
                  <c:v>113.24716666666666</c:v>
                </c:pt>
                <c:pt idx="2076">
                  <c:v>112.39400000000001</c:v>
                </c:pt>
                <c:pt idx="2077">
                  <c:v>110.65433333333334</c:v>
                </c:pt>
                <c:pt idx="2078">
                  <c:v>119.11799999999999</c:v>
                </c:pt>
                <c:pt idx="2079">
                  <c:v>121.05416666666667</c:v>
                </c:pt>
                <c:pt idx="2080">
                  <c:v>123.012</c:v>
                </c:pt>
                <c:pt idx="2081">
                  <c:v>126.15500000000002</c:v>
                </c:pt>
                <c:pt idx="2082">
                  <c:v>126.51416666666667</c:v>
                </c:pt>
                <c:pt idx="2083">
                  <c:v>128.25399999999999</c:v>
                </c:pt>
                <c:pt idx="2084">
                  <c:v>130.52099999999999</c:v>
                </c:pt>
                <c:pt idx="2085">
                  <c:v>128.04749999999999</c:v>
                </c:pt>
                <c:pt idx="2086">
                  <c:v>125.73783333333331</c:v>
                </c:pt>
                <c:pt idx="2087">
                  <c:v>125.98366666666668</c:v>
                </c:pt>
                <c:pt idx="2088">
                  <c:v>124.4165</c:v>
                </c:pt>
                <c:pt idx="2089">
                  <c:v>122.23083333333334</c:v>
                </c:pt>
                <c:pt idx="2090">
                  <c:v>123.97699999999999</c:v>
                </c:pt>
                <c:pt idx="2091">
                  <c:v>122.88816666666668</c:v>
                </c:pt>
                <c:pt idx="2092">
                  <c:v>123.21116666666667</c:v>
                </c:pt>
                <c:pt idx="2093">
                  <c:v>123.11333333333334</c:v>
                </c:pt>
                <c:pt idx="2094">
                  <c:v>122.40033333333334</c:v>
                </c:pt>
                <c:pt idx="2095">
                  <c:v>120.42916666666667</c:v>
                </c:pt>
                <c:pt idx="2096">
                  <c:v>116.15950000000002</c:v>
                </c:pt>
                <c:pt idx="2097">
                  <c:v>112.56816666666667</c:v>
                </c:pt>
                <c:pt idx="2098">
                  <c:v>111.20899999999999</c:v>
                </c:pt>
                <c:pt idx="2099">
                  <c:v>114.08449999999999</c:v>
                </c:pt>
                <c:pt idx="2100">
                  <c:v>113.74733333333332</c:v>
                </c:pt>
                <c:pt idx="2101">
                  <c:v>113.33866666666665</c:v>
                </c:pt>
                <c:pt idx="2102">
                  <c:v>112.08283333333333</c:v>
                </c:pt>
                <c:pt idx="2103">
                  <c:v>112.6845</c:v>
                </c:pt>
                <c:pt idx="2104">
                  <c:v>113.77583333333335</c:v>
                </c:pt>
                <c:pt idx="2105">
                  <c:v>114.11916666666666</c:v>
                </c:pt>
                <c:pt idx="2106">
                  <c:v>112.81366666666668</c:v>
                </c:pt>
                <c:pt idx="2107">
                  <c:v>113.15749999999998</c:v>
                </c:pt>
                <c:pt idx="2108">
                  <c:v>113.46449999999999</c:v>
                </c:pt>
                <c:pt idx="2109">
                  <c:v>116.09383333333334</c:v>
                </c:pt>
                <c:pt idx="2110">
                  <c:v>114.25983333333333</c:v>
                </c:pt>
                <c:pt idx="2111">
                  <c:v>112.67083333333333</c:v>
                </c:pt>
                <c:pt idx="2112">
                  <c:v>108.15683333333334</c:v>
                </c:pt>
                <c:pt idx="2113">
                  <c:v>105.63233333333334</c:v>
                </c:pt>
                <c:pt idx="2114">
                  <c:v>107.53166666666668</c:v>
                </c:pt>
                <c:pt idx="2115">
                  <c:v>110.72616666666666</c:v>
                </c:pt>
                <c:pt idx="2116">
                  <c:v>110.94666666666667</c:v>
                </c:pt>
                <c:pt idx="2117">
                  <c:v>108.33183333333334</c:v>
                </c:pt>
                <c:pt idx="2118">
                  <c:v>109.09833333333334</c:v>
                </c:pt>
                <c:pt idx="2119">
                  <c:v>109.69416666666666</c:v>
                </c:pt>
                <c:pt idx="2120">
                  <c:v>111.90483333333333</c:v>
                </c:pt>
                <c:pt idx="2121">
                  <c:v>110.65366666666665</c:v>
                </c:pt>
                <c:pt idx="2122">
                  <c:v>110.41850000000001</c:v>
                </c:pt>
                <c:pt idx="2123">
                  <c:v>110.71249999999999</c:v>
                </c:pt>
                <c:pt idx="2124">
                  <c:v>110.42483333333332</c:v>
                </c:pt>
                <c:pt idx="2125">
                  <c:v>109.78983333333333</c:v>
                </c:pt>
                <c:pt idx="2126">
                  <c:v>108.44966666666666</c:v>
                </c:pt>
                <c:pt idx="2127">
                  <c:v>107.78233333333333</c:v>
                </c:pt>
                <c:pt idx="2128">
                  <c:v>107.74216666666666</c:v>
                </c:pt>
                <c:pt idx="2129">
                  <c:v>106.28633333333333</c:v>
                </c:pt>
                <c:pt idx="2130">
                  <c:v>104.76683333333334</c:v>
                </c:pt>
                <c:pt idx="2131">
                  <c:v>106.015</c:v>
                </c:pt>
                <c:pt idx="2132">
                  <c:v>105.22750000000001</c:v>
                </c:pt>
                <c:pt idx="2133">
                  <c:v>104.73166666666667</c:v>
                </c:pt>
                <c:pt idx="2134">
                  <c:v>104.1835</c:v>
                </c:pt>
                <c:pt idx="2135">
                  <c:v>103.04133333333334</c:v>
                </c:pt>
                <c:pt idx="2136">
                  <c:v>102.65133333333334</c:v>
                </c:pt>
                <c:pt idx="2137">
                  <c:v>101.91966666666667</c:v>
                </c:pt>
                <c:pt idx="2138">
                  <c:v>103.40916666666665</c:v>
                </c:pt>
                <c:pt idx="2139">
                  <c:v>104.27666666666669</c:v>
                </c:pt>
                <c:pt idx="2140">
                  <c:v>104.61733333333335</c:v>
                </c:pt>
                <c:pt idx="2141">
                  <c:v>105.80866666666667</c:v>
                </c:pt>
                <c:pt idx="2142">
                  <c:v>106.75150000000001</c:v>
                </c:pt>
                <c:pt idx="2143">
                  <c:v>107.02199999999999</c:v>
                </c:pt>
                <c:pt idx="2144">
                  <c:v>107.01383333333335</c:v>
                </c:pt>
                <c:pt idx="2145">
                  <c:v>104.69349999999999</c:v>
                </c:pt>
                <c:pt idx="2146">
                  <c:v>103.2505</c:v>
                </c:pt>
                <c:pt idx="2147">
                  <c:v>102.03283333333336</c:v>
                </c:pt>
                <c:pt idx="2148">
                  <c:v>101.94833333333334</c:v>
                </c:pt>
                <c:pt idx="2149">
                  <c:v>102.60199999999999</c:v>
                </c:pt>
                <c:pt idx="2150">
                  <c:v>103.34883333333335</c:v>
                </c:pt>
                <c:pt idx="2151">
                  <c:v>103.92199999999998</c:v>
                </c:pt>
                <c:pt idx="2152">
                  <c:v>103.65583333333332</c:v>
                </c:pt>
                <c:pt idx="2153">
                  <c:v>103.26116666666667</c:v>
                </c:pt>
                <c:pt idx="2154">
                  <c:v>105.40666666666668</c:v>
                </c:pt>
                <c:pt idx="2155">
                  <c:v>105.81916666666667</c:v>
                </c:pt>
                <c:pt idx="2156">
                  <c:v>108.05083333333333</c:v>
                </c:pt>
                <c:pt idx="2157">
                  <c:v>106.73166666666664</c:v>
                </c:pt>
                <c:pt idx="2158">
                  <c:v>107.899</c:v>
                </c:pt>
                <c:pt idx="2159">
                  <c:v>110.03933333333333</c:v>
                </c:pt>
                <c:pt idx="2160">
                  <c:v>108.40266666666666</c:v>
                </c:pt>
                <c:pt idx="2161">
                  <c:v>109.75066666666667</c:v>
                </c:pt>
                <c:pt idx="2162">
                  <c:v>109.25600000000001</c:v>
                </c:pt>
                <c:pt idx="2163">
                  <c:v>112.64433333333335</c:v>
                </c:pt>
                <c:pt idx="2164">
                  <c:v>111.87266666666666</c:v>
                </c:pt>
                <c:pt idx="2165">
                  <c:v>110.61</c:v>
                </c:pt>
                <c:pt idx="2166">
                  <c:v>111.60233333333333</c:v>
                </c:pt>
                <c:pt idx="2167">
                  <c:v>111.38066666666668</c:v>
                </c:pt>
                <c:pt idx="2168">
                  <c:v>111.51983333333334</c:v>
                </c:pt>
                <c:pt idx="2169">
                  <c:v>114.13933333333334</c:v>
                </c:pt>
                <c:pt idx="2170">
                  <c:v>114.27550000000001</c:v>
                </c:pt>
                <c:pt idx="2171">
                  <c:v>111.21266666666668</c:v>
                </c:pt>
                <c:pt idx="2172">
                  <c:v>113.26299999999999</c:v>
                </c:pt>
                <c:pt idx="2173">
                  <c:v>112.86266666666667</c:v>
                </c:pt>
                <c:pt idx="2174">
                  <c:v>112.78266666666666</c:v>
                </c:pt>
                <c:pt idx="2175">
                  <c:v>112.83900000000001</c:v>
                </c:pt>
                <c:pt idx="2176">
                  <c:v>113.09883333333333</c:v>
                </c:pt>
                <c:pt idx="2177">
                  <c:v>113.85966666666667</c:v>
                </c:pt>
                <c:pt idx="2178">
                  <c:v>114.12766666666668</c:v>
                </c:pt>
                <c:pt idx="2179">
                  <c:v>114.10466666666666</c:v>
                </c:pt>
                <c:pt idx="2180">
                  <c:v>113.80583333333334</c:v>
                </c:pt>
                <c:pt idx="2181">
                  <c:v>111.54216666666666</c:v>
                </c:pt>
                <c:pt idx="2182">
                  <c:v>110.50916666666667</c:v>
                </c:pt>
                <c:pt idx="2183">
                  <c:v>110.77983333333334</c:v>
                </c:pt>
                <c:pt idx="2184">
                  <c:v>111.92066666666665</c:v>
                </c:pt>
                <c:pt idx="2185">
                  <c:v>112.53616666666669</c:v>
                </c:pt>
                <c:pt idx="2186">
                  <c:v>114.11666666666667</c:v>
                </c:pt>
                <c:pt idx="2187">
                  <c:v>114.01983333333335</c:v>
                </c:pt>
                <c:pt idx="2188">
                  <c:v>112.73483333333336</c:v>
                </c:pt>
                <c:pt idx="2189">
                  <c:v>110.50583333333333</c:v>
                </c:pt>
                <c:pt idx="2190">
                  <c:v>108.88166666666666</c:v>
                </c:pt>
                <c:pt idx="2191">
                  <c:v>108.753</c:v>
                </c:pt>
                <c:pt idx="2192">
                  <c:v>106.027</c:v>
                </c:pt>
                <c:pt idx="2193">
                  <c:v>104.30816666666665</c:v>
                </c:pt>
                <c:pt idx="2194">
                  <c:v>103.62566666666667</c:v>
                </c:pt>
                <c:pt idx="2195">
                  <c:v>102.98816666666666</c:v>
                </c:pt>
                <c:pt idx="2196">
                  <c:v>102.71583333333332</c:v>
                </c:pt>
                <c:pt idx="2197">
                  <c:v>102.55316666666666</c:v>
                </c:pt>
                <c:pt idx="2198">
                  <c:v>102.39100000000001</c:v>
                </c:pt>
                <c:pt idx="2199">
                  <c:v>103.12466666666667</c:v>
                </c:pt>
                <c:pt idx="2200">
                  <c:v>104.13083333333333</c:v>
                </c:pt>
                <c:pt idx="2201">
                  <c:v>103.93133333333333</c:v>
                </c:pt>
                <c:pt idx="2202">
                  <c:v>102.90966666666668</c:v>
                </c:pt>
                <c:pt idx="2203">
                  <c:v>103.06466666666667</c:v>
                </c:pt>
                <c:pt idx="2204">
                  <c:v>104.13450000000002</c:v>
                </c:pt>
                <c:pt idx="2205">
                  <c:v>103.871</c:v>
                </c:pt>
                <c:pt idx="2206">
                  <c:v>104.1795</c:v>
                </c:pt>
                <c:pt idx="2207">
                  <c:v>104.85366666666665</c:v>
                </c:pt>
                <c:pt idx="2208">
                  <c:v>119.52583333333332</c:v>
                </c:pt>
                <c:pt idx="2209">
                  <c:v>117.32783333333333</c:v>
                </c:pt>
                <c:pt idx="2210">
                  <c:v>116.39333333333333</c:v>
                </c:pt>
                <c:pt idx="2211">
                  <c:v>115.29666666666667</c:v>
                </c:pt>
                <c:pt idx="2212">
                  <c:v>118.41733333333336</c:v>
                </c:pt>
                <c:pt idx="2213">
                  <c:v>120.37550000000003</c:v>
                </c:pt>
                <c:pt idx="2214">
                  <c:v>124.12433333333333</c:v>
                </c:pt>
                <c:pt idx="2215">
                  <c:v>123.604</c:v>
                </c:pt>
                <c:pt idx="2216">
                  <c:v>123.5745</c:v>
                </c:pt>
                <c:pt idx="2217">
                  <c:v>121.99716666666666</c:v>
                </c:pt>
                <c:pt idx="2218">
                  <c:v>124.92266666666666</c:v>
                </c:pt>
                <c:pt idx="2219">
                  <c:v>126.05066666666669</c:v>
                </c:pt>
                <c:pt idx="2220">
                  <c:v>128.42766666666668</c:v>
                </c:pt>
                <c:pt idx="2221">
                  <c:v>124.28766666666665</c:v>
                </c:pt>
                <c:pt idx="2222">
                  <c:v>124.54783333333334</c:v>
                </c:pt>
                <c:pt idx="2223">
                  <c:v>127.548</c:v>
                </c:pt>
                <c:pt idx="2224">
                  <c:v>129.643</c:v>
                </c:pt>
                <c:pt idx="2225">
                  <c:v>129.60333333333332</c:v>
                </c:pt>
                <c:pt idx="2226">
                  <c:v>126.46333333333332</c:v>
                </c:pt>
                <c:pt idx="2227">
                  <c:v>123.94366666666666</c:v>
                </c:pt>
                <c:pt idx="2228">
                  <c:v>125.14316666666666</c:v>
                </c:pt>
                <c:pt idx="2229">
                  <c:v>123.63483333333333</c:v>
                </c:pt>
                <c:pt idx="2230">
                  <c:v>123.58533333333332</c:v>
                </c:pt>
                <c:pt idx="2231">
                  <c:v>126.73383333333334</c:v>
                </c:pt>
                <c:pt idx="2232">
                  <c:v>128.91566666666668</c:v>
                </c:pt>
                <c:pt idx="2233">
                  <c:v>126.46749999999999</c:v>
                </c:pt>
                <c:pt idx="2234">
                  <c:v>124.80866666666667</c:v>
                </c:pt>
                <c:pt idx="2235">
                  <c:v>125.5843333333333</c:v>
                </c:pt>
                <c:pt idx="2236">
                  <c:v>127.59516666666669</c:v>
                </c:pt>
                <c:pt idx="2237">
                  <c:v>131.14366666666666</c:v>
                </c:pt>
                <c:pt idx="2238">
                  <c:v>132.65049999999999</c:v>
                </c:pt>
                <c:pt idx="2239">
                  <c:v>132.82116666666664</c:v>
                </c:pt>
                <c:pt idx="2240">
                  <c:v>130.86083333333335</c:v>
                </c:pt>
                <c:pt idx="2241">
                  <c:v>127.38933333333334</c:v>
                </c:pt>
                <c:pt idx="2242">
                  <c:v>125.38099999999999</c:v>
                </c:pt>
                <c:pt idx="2243">
                  <c:v>124.07250000000001</c:v>
                </c:pt>
                <c:pt idx="2244">
                  <c:v>125.00450000000001</c:v>
                </c:pt>
                <c:pt idx="2245">
                  <c:v>125.68733333333331</c:v>
                </c:pt>
                <c:pt idx="2246">
                  <c:v>126.56633333333332</c:v>
                </c:pt>
                <c:pt idx="2247">
                  <c:v>125.22783333333332</c:v>
                </c:pt>
                <c:pt idx="2248">
                  <c:v>124.78166666666668</c:v>
                </c:pt>
                <c:pt idx="2249">
                  <c:v>125.56299999999999</c:v>
                </c:pt>
                <c:pt idx="2250">
                  <c:v>126.85666666666667</c:v>
                </c:pt>
                <c:pt idx="2251">
                  <c:v>127.0005</c:v>
                </c:pt>
                <c:pt idx="2252">
                  <c:v>127.73883333333333</c:v>
                </c:pt>
                <c:pt idx="2253">
                  <c:v>128.97783333333334</c:v>
                </c:pt>
                <c:pt idx="2254">
                  <c:v>132.4365</c:v>
                </c:pt>
                <c:pt idx="2255">
                  <c:v>134.81899999999999</c:v>
                </c:pt>
                <c:pt idx="2256">
                  <c:v>134.22866666666667</c:v>
                </c:pt>
                <c:pt idx="2257">
                  <c:v>147.23516666666669</c:v>
                </c:pt>
                <c:pt idx="2258">
                  <c:v>143.00316666666666</c:v>
                </c:pt>
                <c:pt idx="2259">
                  <c:v>144.39766666666668</c:v>
                </c:pt>
                <c:pt idx="2260">
                  <c:v>141.50316666666666</c:v>
                </c:pt>
                <c:pt idx="2261">
                  <c:v>137.0095</c:v>
                </c:pt>
                <c:pt idx="2262">
                  <c:v>136.84116666666668</c:v>
                </c:pt>
                <c:pt idx="2263">
                  <c:v>135.29349999999999</c:v>
                </c:pt>
                <c:pt idx="2264">
                  <c:v>129.86283333333333</c:v>
                </c:pt>
                <c:pt idx="2265">
                  <c:v>125.63249999999999</c:v>
                </c:pt>
                <c:pt idx="2266">
                  <c:v>126.6896666666667</c:v>
                </c:pt>
                <c:pt idx="2267">
                  <c:v>125.74966666666667</c:v>
                </c:pt>
                <c:pt idx="2268">
                  <c:v>124.97966666666667</c:v>
                </c:pt>
                <c:pt idx="2269">
                  <c:v>125.74716666666666</c:v>
                </c:pt>
                <c:pt idx="2270">
                  <c:v>125.87983333333335</c:v>
                </c:pt>
                <c:pt idx="2271">
                  <c:v>123.98083333333335</c:v>
                </c:pt>
                <c:pt idx="2272">
                  <c:v>124.64449999999999</c:v>
                </c:pt>
                <c:pt idx="2273">
                  <c:v>126.32683333333334</c:v>
                </c:pt>
                <c:pt idx="2274">
                  <c:v>123.93816666666667</c:v>
                </c:pt>
                <c:pt idx="2275">
                  <c:v>122.22450000000002</c:v>
                </c:pt>
                <c:pt idx="2276">
                  <c:v>119.89116666666666</c:v>
                </c:pt>
                <c:pt idx="2277">
                  <c:v>119.08533333333334</c:v>
                </c:pt>
                <c:pt idx="2278">
                  <c:v>118.13383333333333</c:v>
                </c:pt>
                <c:pt idx="2279">
                  <c:v>117.11783333333334</c:v>
                </c:pt>
                <c:pt idx="2280">
                  <c:v>115.71066666666667</c:v>
                </c:pt>
                <c:pt idx="2281">
                  <c:v>115.26266666666668</c:v>
                </c:pt>
                <c:pt idx="2282">
                  <c:v>114.99600000000002</c:v>
                </c:pt>
                <c:pt idx="2283">
                  <c:v>114.157</c:v>
                </c:pt>
                <c:pt idx="2284">
                  <c:v>113.803</c:v>
                </c:pt>
                <c:pt idx="2285">
                  <c:v>116.29483333333333</c:v>
                </c:pt>
                <c:pt idx="2286">
                  <c:v>118.5835</c:v>
                </c:pt>
                <c:pt idx="2287">
                  <c:v>117.47516666666667</c:v>
                </c:pt>
                <c:pt idx="2288">
                  <c:v>118.93133333333333</c:v>
                </c:pt>
                <c:pt idx="2289">
                  <c:v>117.32466666666666</c:v>
                </c:pt>
                <c:pt idx="2290">
                  <c:v>117.12249999999999</c:v>
                </c:pt>
                <c:pt idx="2291">
                  <c:v>120.85166666666667</c:v>
                </c:pt>
                <c:pt idx="2292">
                  <c:v>124.3125</c:v>
                </c:pt>
                <c:pt idx="2293">
                  <c:v>126.592</c:v>
                </c:pt>
                <c:pt idx="2294">
                  <c:v>127.86483333333335</c:v>
                </c:pt>
                <c:pt idx="2295">
                  <c:v>124.54716666666667</c:v>
                </c:pt>
                <c:pt idx="2296">
                  <c:v>122.53716666666668</c:v>
                </c:pt>
                <c:pt idx="2297">
                  <c:v>124.56750000000001</c:v>
                </c:pt>
                <c:pt idx="2298">
                  <c:v>126.84083333333332</c:v>
                </c:pt>
                <c:pt idx="2299">
                  <c:v>126.71499999999999</c:v>
                </c:pt>
                <c:pt idx="2300">
                  <c:v>125.15883333333333</c:v>
                </c:pt>
                <c:pt idx="2301">
                  <c:v>127.69</c:v>
                </c:pt>
                <c:pt idx="2302">
                  <c:v>130.68466666666669</c:v>
                </c:pt>
                <c:pt idx="2303">
                  <c:v>128.50866666666664</c:v>
                </c:pt>
                <c:pt idx="2304">
                  <c:v>124.61499999999999</c:v>
                </c:pt>
                <c:pt idx="2305">
                  <c:v>122.34899999999999</c:v>
                </c:pt>
                <c:pt idx="2306">
                  <c:v>125.24183333333333</c:v>
                </c:pt>
                <c:pt idx="2307">
                  <c:v>129.35650000000001</c:v>
                </c:pt>
                <c:pt idx="2308">
                  <c:v>130.80799999999999</c:v>
                </c:pt>
                <c:pt idx="2309">
                  <c:v>129.547</c:v>
                </c:pt>
                <c:pt idx="2310">
                  <c:v>126.65833333333335</c:v>
                </c:pt>
                <c:pt idx="2311">
                  <c:v>128.58233333333334</c:v>
                </c:pt>
                <c:pt idx="2312">
                  <c:v>133.78916666666666</c:v>
                </c:pt>
                <c:pt idx="2313">
                  <c:v>134.28700000000001</c:v>
                </c:pt>
                <c:pt idx="2314">
                  <c:v>130.66916666666665</c:v>
                </c:pt>
                <c:pt idx="2315">
                  <c:v>128.88816666666665</c:v>
                </c:pt>
                <c:pt idx="2316">
                  <c:v>130.49066666666667</c:v>
                </c:pt>
                <c:pt idx="2317">
                  <c:v>133.4315</c:v>
                </c:pt>
                <c:pt idx="2318">
                  <c:v>134.54066666666668</c:v>
                </c:pt>
                <c:pt idx="2319">
                  <c:v>135.25649999999999</c:v>
                </c:pt>
                <c:pt idx="2320">
                  <c:v>136.60333333333332</c:v>
                </c:pt>
                <c:pt idx="2321">
                  <c:v>139.49716666666669</c:v>
                </c:pt>
                <c:pt idx="2322">
                  <c:v>137.67116666666666</c:v>
                </c:pt>
                <c:pt idx="2323">
                  <c:v>140.36099999999999</c:v>
                </c:pt>
                <c:pt idx="2324">
                  <c:v>140.96583333333334</c:v>
                </c:pt>
                <c:pt idx="2325">
                  <c:v>139.749</c:v>
                </c:pt>
                <c:pt idx="2326">
                  <c:v>138.1695</c:v>
                </c:pt>
                <c:pt idx="2327">
                  <c:v>142.99083333333331</c:v>
                </c:pt>
                <c:pt idx="2328">
                  <c:v>149.28116666666665</c:v>
                </c:pt>
                <c:pt idx="2329">
                  <c:v>145.85666666666665</c:v>
                </c:pt>
                <c:pt idx="2330">
                  <c:v>135.78133333333332</c:v>
                </c:pt>
                <c:pt idx="2331">
                  <c:v>134.54716666666667</c:v>
                </c:pt>
                <c:pt idx="2332">
                  <c:v>136.15783333333334</c:v>
                </c:pt>
                <c:pt idx="2333">
                  <c:v>135.98249999999999</c:v>
                </c:pt>
                <c:pt idx="2334">
                  <c:v>135.10600000000002</c:v>
                </c:pt>
                <c:pt idx="2335">
                  <c:v>126.46850000000001</c:v>
                </c:pt>
                <c:pt idx="2336">
                  <c:v>120.01150000000001</c:v>
                </c:pt>
                <c:pt idx="2337">
                  <c:v>118.88216666666665</c:v>
                </c:pt>
                <c:pt idx="2338">
                  <c:v>129.48483333333334</c:v>
                </c:pt>
                <c:pt idx="2339">
                  <c:v>130.09833333333333</c:v>
                </c:pt>
                <c:pt idx="2340">
                  <c:v>131.9425</c:v>
                </c:pt>
                <c:pt idx="2341">
                  <c:v>130.23883333333333</c:v>
                </c:pt>
                <c:pt idx="2342">
                  <c:v>128.05733333333333</c:v>
                </c:pt>
                <c:pt idx="2343">
                  <c:v>126.33900000000001</c:v>
                </c:pt>
                <c:pt idx="2344">
                  <c:v>120.51033333333334</c:v>
                </c:pt>
                <c:pt idx="2345">
                  <c:v>120.81116666666667</c:v>
                </c:pt>
                <c:pt idx="2346">
                  <c:v>122.91233333333334</c:v>
                </c:pt>
                <c:pt idx="2347">
                  <c:v>123.05649999999999</c:v>
                </c:pt>
                <c:pt idx="2348">
                  <c:v>118.59133333333334</c:v>
                </c:pt>
                <c:pt idx="2349">
                  <c:v>120.26700000000001</c:v>
                </c:pt>
                <c:pt idx="2350">
                  <c:v>123.96850000000001</c:v>
                </c:pt>
                <c:pt idx="2351">
                  <c:v>125.2265</c:v>
                </c:pt>
                <c:pt idx="2352">
                  <c:v>127.28833333333336</c:v>
                </c:pt>
                <c:pt idx="2353">
                  <c:v>130.87649999999999</c:v>
                </c:pt>
                <c:pt idx="2354">
                  <c:v>132.791</c:v>
                </c:pt>
                <c:pt idx="2355">
                  <c:v>132.81166666666667</c:v>
                </c:pt>
                <c:pt idx="2356">
                  <c:v>134.37883333333335</c:v>
                </c:pt>
                <c:pt idx="2357">
                  <c:v>134.26216666666667</c:v>
                </c:pt>
                <c:pt idx="2358">
                  <c:v>138.92016666666669</c:v>
                </c:pt>
                <c:pt idx="2359">
                  <c:v>137.53749999999999</c:v>
                </c:pt>
                <c:pt idx="2360">
                  <c:v>137.636</c:v>
                </c:pt>
                <c:pt idx="2361">
                  <c:v>137.24499999999998</c:v>
                </c:pt>
                <c:pt idx="2362">
                  <c:v>143.05883333333335</c:v>
                </c:pt>
                <c:pt idx="2363">
                  <c:v>148.52483333333331</c:v>
                </c:pt>
                <c:pt idx="2364">
                  <c:v>149.26150000000001</c:v>
                </c:pt>
                <c:pt idx="2365">
                  <c:v>149.99849999999998</c:v>
                </c:pt>
                <c:pt idx="2366">
                  <c:v>148.75133333333332</c:v>
                </c:pt>
                <c:pt idx="2367">
                  <c:v>152.98699999999999</c:v>
                </c:pt>
                <c:pt idx="2368">
                  <c:v>155.357</c:v>
                </c:pt>
                <c:pt idx="2369">
                  <c:v>155.6096666666667</c:v>
                </c:pt>
                <c:pt idx="2370">
                  <c:v>151.917</c:v>
                </c:pt>
                <c:pt idx="2371">
                  <c:v>153.38166666666666</c:v>
                </c:pt>
                <c:pt idx="2372">
                  <c:v>158.66383333333332</c:v>
                </c:pt>
                <c:pt idx="2373">
                  <c:v>168.75116666666665</c:v>
                </c:pt>
                <c:pt idx="2374">
                  <c:v>164.42699999999999</c:v>
                </c:pt>
                <c:pt idx="2375">
                  <c:v>161.24350000000001</c:v>
                </c:pt>
                <c:pt idx="2376">
                  <c:v>167.24850000000001</c:v>
                </c:pt>
                <c:pt idx="2377">
                  <c:v>161.673</c:v>
                </c:pt>
                <c:pt idx="2378">
                  <c:v>161.71833333333333</c:v>
                </c:pt>
                <c:pt idx="2379">
                  <c:v>158.76633333333334</c:v>
                </c:pt>
                <c:pt idx="2380">
                  <c:v>163.32149999999999</c:v>
                </c:pt>
                <c:pt idx="2381">
                  <c:v>166.99133333333333</c:v>
                </c:pt>
                <c:pt idx="2382">
                  <c:v>165.59900000000002</c:v>
                </c:pt>
                <c:pt idx="2383">
                  <c:v>160.23516666666669</c:v>
                </c:pt>
                <c:pt idx="2384">
                  <c:v>159.08316666666667</c:v>
                </c:pt>
                <c:pt idx="2385">
                  <c:v>150.4905</c:v>
                </c:pt>
                <c:pt idx="2386">
                  <c:v>144.05950000000004</c:v>
                </c:pt>
                <c:pt idx="2387">
                  <c:v>139.68633333333332</c:v>
                </c:pt>
                <c:pt idx="2388">
                  <c:v>136.37766666666667</c:v>
                </c:pt>
                <c:pt idx="2389">
                  <c:v>138.34433333333331</c:v>
                </c:pt>
                <c:pt idx="2390">
                  <c:v>139.20633333333333</c:v>
                </c:pt>
                <c:pt idx="2391">
                  <c:v>140.17966666666663</c:v>
                </c:pt>
                <c:pt idx="2392">
                  <c:v>140.88033333333334</c:v>
                </c:pt>
                <c:pt idx="2393">
                  <c:v>141.30233333333334</c:v>
                </c:pt>
                <c:pt idx="2394">
                  <c:v>143.0736666666667</c:v>
                </c:pt>
                <c:pt idx="2395">
                  <c:v>144.83083333333335</c:v>
                </c:pt>
                <c:pt idx="2396">
                  <c:v>149.68383333333333</c:v>
                </c:pt>
                <c:pt idx="2397">
                  <c:v>157.44333333333336</c:v>
                </c:pt>
                <c:pt idx="2398">
                  <c:v>172.57333333333335</c:v>
                </c:pt>
                <c:pt idx="2399">
                  <c:v>174.6875</c:v>
                </c:pt>
                <c:pt idx="2400">
                  <c:v>166.97083333333333</c:v>
                </c:pt>
                <c:pt idx="2401">
                  <c:v>181.98833333333332</c:v>
                </c:pt>
                <c:pt idx="2402">
                  <c:v>178.16650000000001</c:v>
                </c:pt>
                <c:pt idx="2403">
                  <c:v>175.23749999999998</c:v>
                </c:pt>
                <c:pt idx="2404">
                  <c:v>171.59383333333332</c:v>
                </c:pt>
                <c:pt idx="2405">
                  <c:v>174.35916666666665</c:v>
                </c:pt>
                <c:pt idx="2406">
                  <c:v>177.37816666666663</c:v>
                </c:pt>
                <c:pt idx="2407">
                  <c:v>173.92349999999999</c:v>
                </c:pt>
                <c:pt idx="2408">
                  <c:v>168.55449999999999</c:v>
                </c:pt>
                <c:pt idx="2409">
                  <c:v>180.87083333333331</c:v>
                </c:pt>
                <c:pt idx="2410">
                  <c:v>186.20833333333334</c:v>
                </c:pt>
                <c:pt idx="2411">
                  <c:v>191.07233333333329</c:v>
                </c:pt>
                <c:pt idx="2412">
                  <c:v>190.81816666666668</c:v>
                </c:pt>
                <c:pt idx="2413">
                  <c:v>192.02916666666667</c:v>
                </c:pt>
                <c:pt idx="2414">
                  <c:v>195.14466666666667</c:v>
                </c:pt>
                <c:pt idx="2415">
                  <c:v>197.78449999999998</c:v>
                </c:pt>
                <c:pt idx="2416">
                  <c:v>193.60016666666669</c:v>
                </c:pt>
                <c:pt idx="2417">
                  <c:v>192.25466666666668</c:v>
                </c:pt>
                <c:pt idx="2418">
                  <c:v>197.09216666666666</c:v>
                </c:pt>
                <c:pt idx="2419">
                  <c:v>205.59500000000003</c:v>
                </c:pt>
                <c:pt idx="2420">
                  <c:v>211.1885</c:v>
                </c:pt>
                <c:pt idx="2421">
                  <c:v>218.31399999999999</c:v>
                </c:pt>
                <c:pt idx="2422">
                  <c:v>217.16849999999999</c:v>
                </c:pt>
                <c:pt idx="2423">
                  <c:v>212.01933333333332</c:v>
                </c:pt>
                <c:pt idx="2424">
                  <c:v>205.79666666666665</c:v>
                </c:pt>
                <c:pt idx="2425">
                  <c:v>196.33350000000004</c:v>
                </c:pt>
                <c:pt idx="2426">
                  <c:v>194.83066666666664</c:v>
                </c:pt>
                <c:pt idx="2427">
                  <c:v>193.28116666666668</c:v>
                </c:pt>
                <c:pt idx="2428">
                  <c:v>189.52733333333333</c:v>
                </c:pt>
                <c:pt idx="2429">
                  <c:v>196.09533333333334</c:v>
                </c:pt>
                <c:pt idx="2430">
                  <c:v>192.49383333333333</c:v>
                </c:pt>
                <c:pt idx="2431">
                  <c:v>180.77300000000002</c:v>
                </c:pt>
                <c:pt idx="2432">
                  <c:v>170.91033333333334</c:v>
                </c:pt>
                <c:pt idx="2433">
                  <c:v>170.97283333333334</c:v>
                </c:pt>
                <c:pt idx="2434">
                  <c:v>176.41766666666669</c:v>
                </c:pt>
                <c:pt idx="2435">
                  <c:v>172.60000000000002</c:v>
                </c:pt>
                <c:pt idx="2436">
                  <c:v>169.51583333333335</c:v>
                </c:pt>
                <c:pt idx="2437">
                  <c:v>168.52600000000001</c:v>
                </c:pt>
                <c:pt idx="2438">
                  <c:v>163.34366666666668</c:v>
                </c:pt>
                <c:pt idx="2439">
                  <c:v>168.50333333333333</c:v>
                </c:pt>
                <c:pt idx="2440">
                  <c:v>158.66483333333335</c:v>
                </c:pt>
                <c:pt idx="2441">
                  <c:v>154.81833333333333</c:v>
                </c:pt>
                <c:pt idx="2442">
                  <c:v>152.44383333333334</c:v>
                </c:pt>
                <c:pt idx="2443">
                  <c:v>152.8928333333333</c:v>
                </c:pt>
                <c:pt idx="2444">
                  <c:v>157.57999999999998</c:v>
                </c:pt>
                <c:pt idx="2445">
                  <c:v>162.43683333333334</c:v>
                </c:pt>
                <c:pt idx="2446">
                  <c:v>163.0086666666667</c:v>
                </c:pt>
                <c:pt idx="2447">
                  <c:v>171.83399999999997</c:v>
                </c:pt>
                <c:pt idx="2448">
                  <c:v>180.5925</c:v>
                </c:pt>
                <c:pt idx="2449">
                  <c:v>174.96299999999997</c:v>
                </c:pt>
                <c:pt idx="2450">
                  <c:v>167.88366666666667</c:v>
                </c:pt>
                <c:pt idx="2451">
                  <c:v>163.345</c:v>
                </c:pt>
                <c:pt idx="2452">
                  <c:v>167.14400000000001</c:v>
                </c:pt>
                <c:pt idx="2453">
                  <c:v>168.73383333333331</c:v>
                </c:pt>
                <c:pt idx="2454">
                  <c:v>172.88900000000001</c:v>
                </c:pt>
                <c:pt idx="2455">
                  <c:v>175.68683333333334</c:v>
                </c:pt>
                <c:pt idx="2456">
                  <c:v>178.71583333333334</c:v>
                </c:pt>
                <c:pt idx="2457">
                  <c:v>171.58583333333331</c:v>
                </c:pt>
                <c:pt idx="2458">
                  <c:v>173.15166666666667</c:v>
                </c:pt>
                <c:pt idx="2459">
                  <c:v>169.10049999999998</c:v>
                </c:pt>
                <c:pt idx="2460">
                  <c:v>163.62583333333333</c:v>
                </c:pt>
                <c:pt idx="2461">
                  <c:v>158.76649999999998</c:v>
                </c:pt>
                <c:pt idx="2462">
                  <c:v>152.23616666666666</c:v>
                </c:pt>
                <c:pt idx="2463">
                  <c:v>149.04566666666668</c:v>
                </c:pt>
                <c:pt idx="2464">
                  <c:v>160.40600000000001</c:v>
                </c:pt>
                <c:pt idx="2465">
                  <c:v>160.89700000000002</c:v>
                </c:pt>
                <c:pt idx="2466">
                  <c:v>162.83349999999999</c:v>
                </c:pt>
                <c:pt idx="2467">
                  <c:v>166.98966666666669</c:v>
                </c:pt>
                <c:pt idx="2468">
                  <c:v>166.07833333333335</c:v>
                </c:pt>
                <c:pt idx="2469">
                  <c:v>181.09283333333335</c:v>
                </c:pt>
                <c:pt idx="2470">
                  <c:v>182.67100000000002</c:v>
                </c:pt>
                <c:pt idx="2471">
                  <c:v>187.46766666666667</c:v>
                </c:pt>
                <c:pt idx="2472">
                  <c:v>199.01133333333334</c:v>
                </c:pt>
                <c:pt idx="2473">
                  <c:v>209.14850000000001</c:v>
                </c:pt>
                <c:pt idx="2474">
                  <c:v>214.58266666666668</c:v>
                </c:pt>
                <c:pt idx="2475">
                  <c:v>211.77033333333335</c:v>
                </c:pt>
                <c:pt idx="2476">
                  <c:v>218.06666666666663</c:v>
                </c:pt>
                <c:pt idx="2477">
                  <c:v>217.86099999999999</c:v>
                </c:pt>
                <c:pt idx="2478">
                  <c:v>209.27583333333334</c:v>
                </c:pt>
                <c:pt idx="2479">
                  <c:v>197.5128333333333</c:v>
                </c:pt>
                <c:pt idx="2480">
                  <c:v>201.28783333333331</c:v>
                </c:pt>
                <c:pt idx="2481">
                  <c:v>201.3906666666667</c:v>
                </c:pt>
                <c:pt idx="2482">
                  <c:v>207.75350000000003</c:v>
                </c:pt>
                <c:pt idx="2483">
                  <c:v>212.87733333333333</c:v>
                </c:pt>
                <c:pt idx="2484">
                  <c:v>212.32216666666662</c:v>
                </c:pt>
                <c:pt idx="2485">
                  <c:v>212.54733333333334</c:v>
                </c:pt>
                <c:pt idx="2486">
                  <c:v>215.43233333333333</c:v>
                </c:pt>
                <c:pt idx="2487">
                  <c:v>219.97966666666665</c:v>
                </c:pt>
                <c:pt idx="2488">
                  <c:v>217.01850000000002</c:v>
                </c:pt>
                <c:pt idx="2489">
                  <c:v>211.06449999999998</c:v>
                </c:pt>
                <c:pt idx="2490">
                  <c:v>211.9228333333333</c:v>
                </c:pt>
                <c:pt idx="2491">
                  <c:v>213.81133333333332</c:v>
                </c:pt>
                <c:pt idx="2492">
                  <c:v>213.07683333333333</c:v>
                </c:pt>
                <c:pt idx="2493">
                  <c:v>208.30466666666666</c:v>
                </c:pt>
                <c:pt idx="2494">
                  <c:v>202.43399999999997</c:v>
                </c:pt>
                <c:pt idx="2495">
                  <c:v>195.57799999999997</c:v>
                </c:pt>
                <c:pt idx="2496">
                  <c:v>192.37116666666668</c:v>
                </c:pt>
                <c:pt idx="2497">
                  <c:v>189.2895</c:v>
                </c:pt>
                <c:pt idx="2498">
                  <c:v>190.30250000000001</c:v>
                </c:pt>
                <c:pt idx="2499">
                  <c:v>186.51866666666669</c:v>
                </c:pt>
                <c:pt idx="2500">
                  <c:v>187.14800000000002</c:v>
                </c:pt>
                <c:pt idx="2501">
                  <c:v>191.77866666666662</c:v>
                </c:pt>
                <c:pt idx="2502">
                  <c:v>185.34316666666669</c:v>
                </c:pt>
                <c:pt idx="2503">
                  <c:v>177.38850000000002</c:v>
                </c:pt>
                <c:pt idx="2504">
                  <c:v>172.81500000000003</c:v>
                </c:pt>
                <c:pt idx="2505">
                  <c:v>177.29449999999997</c:v>
                </c:pt>
                <c:pt idx="2506">
                  <c:v>167.43383333333335</c:v>
                </c:pt>
                <c:pt idx="2507">
                  <c:v>158.50433333333336</c:v>
                </c:pt>
                <c:pt idx="2508">
                  <c:v>156.14666666666668</c:v>
                </c:pt>
                <c:pt idx="2509">
                  <c:v>153.54500000000002</c:v>
                </c:pt>
                <c:pt idx="2510">
                  <c:v>157.43299999999999</c:v>
                </c:pt>
                <c:pt idx="2511">
                  <c:v>165.73933333333332</c:v>
                </c:pt>
                <c:pt idx="2512">
                  <c:v>164.45283333333333</c:v>
                </c:pt>
                <c:pt idx="2513">
                  <c:v>165.94333333333333</c:v>
                </c:pt>
                <c:pt idx="2514">
                  <c:v>161.81533333333331</c:v>
                </c:pt>
                <c:pt idx="2515">
                  <c:v>156.70450000000002</c:v>
                </c:pt>
                <c:pt idx="2516">
                  <c:v>153.88233333333332</c:v>
                </c:pt>
                <c:pt idx="2517">
                  <c:v>153.02483333333333</c:v>
                </c:pt>
                <c:pt idx="2518">
                  <c:v>155.81450000000001</c:v>
                </c:pt>
                <c:pt idx="2519">
                  <c:v>152.59533333333334</c:v>
                </c:pt>
                <c:pt idx="2520">
                  <c:v>149.33816666666667</c:v>
                </c:pt>
                <c:pt idx="2521">
                  <c:v>152.01216666666664</c:v>
                </c:pt>
                <c:pt idx="2522">
                  <c:v>149.49900000000002</c:v>
                </c:pt>
                <c:pt idx="2523">
                  <c:v>152.23566666666667</c:v>
                </c:pt>
                <c:pt idx="2524">
                  <c:v>158.38483333333332</c:v>
                </c:pt>
                <c:pt idx="2525">
                  <c:v>157.92016666666666</c:v>
                </c:pt>
                <c:pt idx="2526">
                  <c:v>155.32850000000002</c:v>
                </c:pt>
                <c:pt idx="2527">
                  <c:v>154.05733333333333</c:v>
                </c:pt>
                <c:pt idx="2528">
                  <c:v>154.76666666666668</c:v>
                </c:pt>
                <c:pt idx="2529">
                  <c:v>149.98433333333335</c:v>
                </c:pt>
                <c:pt idx="2530">
                  <c:v>148.13816666666668</c:v>
                </c:pt>
                <c:pt idx="2531">
                  <c:v>151.81716666666665</c:v>
                </c:pt>
                <c:pt idx="2532">
                  <c:v>157.99616666666665</c:v>
                </c:pt>
                <c:pt idx="2533">
                  <c:v>159.35116666666667</c:v>
                </c:pt>
                <c:pt idx="2534">
                  <c:v>161.50516666666667</c:v>
                </c:pt>
                <c:pt idx="2535">
                  <c:v>156.1465</c:v>
                </c:pt>
                <c:pt idx="2536">
                  <c:v>156.33349999999999</c:v>
                </c:pt>
                <c:pt idx="2537">
                  <c:v>155.20983333333331</c:v>
                </c:pt>
                <c:pt idx="2538">
                  <c:v>154.32900000000001</c:v>
                </c:pt>
                <c:pt idx="2539">
                  <c:v>154.93983333333335</c:v>
                </c:pt>
                <c:pt idx="2540">
                  <c:v>154.63499999999999</c:v>
                </c:pt>
                <c:pt idx="2541">
                  <c:v>153.95400000000001</c:v>
                </c:pt>
                <c:pt idx="2542">
                  <c:v>153.422</c:v>
                </c:pt>
                <c:pt idx="2543">
                  <c:v>153.71150000000003</c:v>
                </c:pt>
                <c:pt idx="2544">
                  <c:v>152.98150000000001</c:v>
                </c:pt>
                <c:pt idx="2545">
                  <c:v>153.37633333333332</c:v>
                </c:pt>
                <c:pt idx="2546">
                  <c:v>156.68866666666665</c:v>
                </c:pt>
                <c:pt idx="2547">
                  <c:v>153.70383333333334</c:v>
                </c:pt>
                <c:pt idx="2548">
                  <c:v>149.16499999999999</c:v>
                </c:pt>
                <c:pt idx="2549">
                  <c:v>152.49183333333335</c:v>
                </c:pt>
                <c:pt idx="2550">
                  <c:v>149.95833333333334</c:v>
                </c:pt>
                <c:pt idx="2551">
                  <c:v>148.208</c:v>
                </c:pt>
                <c:pt idx="2552">
                  <c:v>147.34950000000001</c:v>
                </c:pt>
                <c:pt idx="2553">
                  <c:v>147.98916666666665</c:v>
                </c:pt>
                <c:pt idx="2554">
                  <c:v>149.22549999999998</c:v>
                </c:pt>
                <c:pt idx="2555">
                  <c:v>147.5805</c:v>
                </c:pt>
                <c:pt idx="2556">
                  <c:v>150.68700000000001</c:v>
                </c:pt>
                <c:pt idx="2557">
                  <c:v>149.26416666666668</c:v>
                </c:pt>
                <c:pt idx="2558">
                  <c:v>147.68700000000001</c:v>
                </c:pt>
                <c:pt idx="2559">
                  <c:v>146.98133333333331</c:v>
                </c:pt>
                <c:pt idx="2560">
                  <c:v>147.58716666666669</c:v>
                </c:pt>
                <c:pt idx="2561">
                  <c:v>145.27966666666666</c:v>
                </c:pt>
                <c:pt idx="2562">
                  <c:v>141.88366666666667</c:v>
                </c:pt>
                <c:pt idx="2563">
                  <c:v>144.53916666666666</c:v>
                </c:pt>
                <c:pt idx="2564">
                  <c:v>143.464</c:v>
                </c:pt>
                <c:pt idx="2565">
                  <c:v>139.32899999999998</c:v>
                </c:pt>
                <c:pt idx="2566">
                  <c:v>132.64366666666666</c:v>
                </c:pt>
                <c:pt idx="2567">
                  <c:v>134.73866666666666</c:v>
                </c:pt>
                <c:pt idx="2568">
                  <c:v>139.75416666666669</c:v>
                </c:pt>
                <c:pt idx="2569">
                  <c:v>139.89616666666666</c:v>
                </c:pt>
                <c:pt idx="2570">
                  <c:v>141.49233333333333</c:v>
                </c:pt>
                <c:pt idx="2571">
                  <c:v>141.98416666666665</c:v>
                </c:pt>
                <c:pt idx="2572">
                  <c:v>144.99683333333334</c:v>
                </c:pt>
                <c:pt idx="2573">
                  <c:v>144.21566666666666</c:v>
                </c:pt>
                <c:pt idx="2574">
                  <c:v>140.80549999999999</c:v>
                </c:pt>
                <c:pt idx="2575">
                  <c:v>139.65883333333335</c:v>
                </c:pt>
                <c:pt idx="2576">
                  <c:v>139.96766666666667</c:v>
                </c:pt>
                <c:pt idx="2577">
                  <c:v>143.65016666666665</c:v>
                </c:pt>
                <c:pt idx="2578">
                  <c:v>143.86366666666666</c:v>
                </c:pt>
                <c:pt idx="2579">
                  <c:v>149.98266666666666</c:v>
                </c:pt>
                <c:pt idx="2580">
                  <c:v>148.72066666666666</c:v>
                </c:pt>
                <c:pt idx="2581">
                  <c:v>144.10499999999999</c:v>
                </c:pt>
                <c:pt idx="2582">
                  <c:v>146.59950000000001</c:v>
                </c:pt>
                <c:pt idx="2583">
                  <c:v>144.21316666666667</c:v>
                </c:pt>
                <c:pt idx="2584">
                  <c:v>143.88300000000001</c:v>
                </c:pt>
                <c:pt idx="2585">
                  <c:v>141.07400000000004</c:v>
                </c:pt>
                <c:pt idx="2586">
                  <c:v>141.79583333333332</c:v>
                </c:pt>
                <c:pt idx="2587">
                  <c:v>136.00899999999999</c:v>
                </c:pt>
                <c:pt idx="2588">
                  <c:v>132.31583333333333</c:v>
                </c:pt>
                <c:pt idx="2589">
                  <c:v>135.72766666666669</c:v>
                </c:pt>
                <c:pt idx="2590">
                  <c:v>138.54933333333335</c:v>
                </c:pt>
                <c:pt idx="2591">
                  <c:v>140.55216666666666</c:v>
                </c:pt>
                <c:pt idx="2592">
                  <c:v>146.83016666666666</c:v>
                </c:pt>
                <c:pt idx="2593">
                  <c:v>154.95466666666667</c:v>
                </c:pt>
                <c:pt idx="2594">
                  <c:v>155.46683333333331</c:v>
                </c:pt>
                <c:pt idx="2595">
                  <c:v>163.73433333333335</c:v>
                </c:pt>
                <c:pt idx="2596">
                  <c:v>158.529</c:v>
                </c:pt>
                <c:pt idx="2597">
                  <c:v>161.76366666666667</c:v>
                </c:pt>
                <c:pt idx="2598">
                  <c:v>175.80199999999999</c:v>
                </c:pt>
                <c:pt idx="2599">
                  <c:v>165.99533333333335</c:v>
                </c:pt>
                <c:pt idx="2600">
                  <c:v>164.148</c:v>
                </c:pt>
                <c:pt idx="2601">
                  <c:v>165.83233333333334</c:v>
                </c:pt>
                <c:pt idx="2602">
                  <c:v>167.80383333333336</c:v>
                </c:pt>
                <c:pt idx="2603">
                  <c:v>163.70333333333335</c:v>
                </c:pt>
                <c:pt idx="2604">
                  <c:v>162.39849999999998</c:v>
                </c:pt>
                <c:pt idx="2605">
                  <c:v>157.57183333333333</c:v>
                </c:pt>
                <c:pt idx="2606">
                  <c:v>153.09866666666667</c:v>
                </c:pt>
                <c:pt idx="2607">
                  <c:v>149.42400000000001</c:v>
                </c:pt>
                <c:pt idx="2608">
                  <c:v>147.3135</c:v>
                </c:pt>
                <c:pt idx="2609">
                  <c:v>149.39350000000002</c:v>
                </c:pt>
                <c:pt idx="2610">
                  <c:v>153.05449999999999</c:v>
                </c:pt>
                <c:pt idx="2611">
                  <c:v>154.23583333333332</c:v>
                </c:pt>
                <c:pt idx="2612">
                  <c:v>154.30166666666665</c:v>
                </c:pt>
                <c:pt idx="2613">
                  <c:v>154.49766666666667</c:v>
                </c:pt>
                <c:pt idx="2614">
                  <c:v>150.76483333333334</c:v>
                </c:pt>
                <c:pt idx="2615">
                  <c:v>147.06316666666666</c:v>
                </c:pt>
                <c:pt idx="2616">
                  <c:v>145.05483333333333</c:v>
                </c:pt>
                <c:pt idx="2617">
                  <c:v>144.26233333333334</c:v>
                </c:pt>
                <c:pt idx="2618">
                  <c:v>145.19716666666667</c:v>
                </c:pt>
                <c:pt idx="2619">
                  <c:v>146.25466666666668</c:v>
                </c:pt>
                <c:pt idx="2620">
                  <c:v>148.94733333333332</c:v>
                </c:pt>
                <c:pt idx="2621">
                  <c:v>151.08933333333331</c:v>
                </c:pt>
                <c:pt idx="2622">
                  <c:v>151.46433333333334</c:v>
                </c:pt>
                <c:pt idx="2623">
                  <c:v>152.12116666666665</c:v>
                </c:pt>
                <c:pt idx="2624">
                  <c:v>152.53083333333333</c:v>
                </c:pt>
                <c:pt idx="2625">
                  <c:v>152.99366666666666</c:v>
                </c:pt>
                <c:pt idx="2626">
                  <c:v>150.37583333333333</c:v>
                </c:pt>
                <c:pt idx="2627">
                  <c:v>148.54483333333334</c:v>
                </c:pt>
                <c:pt idx="2628">
                  <c:v>145.78266666666667</c:v>
                </c:pt>
                <c:pt idx="2629">
                  <c:v>148.29166666666666</c:v>
                </c:pt>
                <c:pt idx="2630">
                  <c:v>149.47949999999997</c:v>
                </c:pt>
                <c:pt idx="2631">
                  <c:v>153.25483333333332</c:v>
                </c:pt>
                <c:pt idx="2632">
                  <c:v>151.11316666666667</c:v>
                </c:pt>
                <c:pt idx="2633">
                  <c:v>150.65099999999998</c:v>
                </c:pt>
                <c:pt idx="2634">
                  <c:v>152.74</c:v>
                </c:pt>
                <c:pt idx="2635">
                  <c:v>152.85650000000001</c:v>
                </c:pt>
                <c:pt idx="2636">
                  <c:v>153.74966666666666</c:v>
                </c:pt>
                <c:pt idx="2637">
                  <c:v>155.19366666666667</c:v>
                </c:pt>
                <c:pt idx="2638">
                  <c:v>153.83516666666668</c:v>
                </c:pt>
                <c:pt idx="2639">
                  <c:v>154.94999999999999</c:v>
                </c:pt>
                <c:pt idx="2640">
                  <c:v>154.76666666666665</c:v>
                </c:pt>
                <c:pt idx="2641">
                  <c:v>152.23233333333334</c:v>
                </c:pt>
                <c:pt idx="2642">
                  <c:v>151.23966666666666</c:v>
                </c:pt>
                <c:pt idx="2643">
                  <c:v>149.61283333333336</c:v>
                </c:pt>
                <c:pt idx="2644">
                  <c:v>149.19150000000002</c:v>
                </c:pt>
                <c:pt idx="2645">
                  <c:v>149.81283333333332</c:v>
                </c:pt>
                <c:pt idx="2646">
                  <c:v>149.82283333333334</c:v>
                </c:pt>
                <c:pt idx="2647">
                  <c:v>147.90033333333335</c:v>
                </c:pt>
                <c:pt idx="2648">
                  <c:v>146.94366666666664</c:v>
                </c:pt>
                <c:pt idx="2649">
                  <c:v>145.65833333333333</c:v>
                </c:pt>
                <c:pt idx="2650">
                  <c:v>147.48499999999999</c:v>
                </c:pt>
                <c:pt idx="2651">
                  <c:v>146.00700000000003</c:v>
                </c:pt>
                <c:pt idx="2652">
                  <c:v>139.61916666666667</c:v>
                </c:pt>
                <c:pt idx="2653">
                  <c:v>137.65450000000001</c:v>
                </c:pt>
                <c:pt idx="2654">
                  <c:v>135.97616666666667</c:v>
                </c:pt>
                <c:pt idx="2655">
                  <c:v>135.33683333333332</c:v>
                </c:pt>
                <c:pt idx="2656">
                  <c:v>134.40933333333331</c:v>
                </c:pt>
                <c:pt idx="2657">
                  <c:v>132.07533333333333</c:v>
                </c:pt>
                <c:pt idx="2658">
                  <c:v>129.87899999999999</c:v>
                </c:pt>
                <c:pt idx="2659">
                  <c:v>128.50166666666667</c:v>
                </c:pt>
                <c:pt idx="2660">
                  <c:v>126.88533333333332</c:v>
                </c:pt>
                <c:pt idx="2661">
                  <c:v>127.81583333333333</c:v>
                </c:pt>
                <c:pt idx="2662">
                  <c:v>127.24533333333333</c:v>
                </c:pt>
                <c:pt idx="2663">
                  <c:v>128.19433333333333</c:v>
                </c:pt>
                <c:pt idx="2664">
                  <c:v>129.14316666666667</c:v>
                </c:pt>
                <c:pt idx="2665">
                  <c:v>128.35916666666668</c:v>
                </c:pt>
                <c:pt idx="2666">
                  <c:v>128.31200000000001</c:v>
                </c:pt>
                <c:pt idx="2667">
                  <c:v>129.50733333333332</c:v>
                </c:pt>
                <c:pt idx="2668">
                  <c:v>130.44450000000001</c:v>
                </c:pt>
                <c:pt idx="2669">
                  <c:v>128.79</c:v>
                </c:pt>
                <c:pt idx="2670">
                  <c:v>129.072</c:v>
                </c:pt>
                <c:pt idx="2671">
                  <c:v>128.80166666666665</c:v>
                </c:pt>
                <c:pt idx="2672">
                  <c:v>126.42366666666668</c:v>
                </c:pt>
                <c:pt idx="2673">
                  <c:v>125.24649999999998</c:v>
                </c:pt>
                <c:pt idx="2674">
                  <c:v>124.56883333333333</c:v>
                </c:pt>
                <c:pt idx="2675">
                  <c:v>126.00733333333334</c:v>
                </c:pt>
                <c:pt idx="2676">
                  <c:v>129.30500000000001</c:v>
                </c:pt>
                <c:pt idx="2677">
                  <c:v>130.32316666666665</c:v>
                </c:pt>
                <c:pt idx="2678">
                  <c:v>130.63416666666669</c:v>
                </c:pt>
                <c:pt idx="2679">
                  <c:v>128.66366666666667</c:v>
                </c:pt>
                <c:pt idx="2680">
                  <c:v>124.83466666666665</c:v>
                </c:pt>
                <c:pt idx="2681">
                  <c:v>121.99016666666667</c:v>
                </c:pt>
                <c:pt idx="2682">
                  <c:v>122.70549999999999</c:v>
                </c:pt>
                <c:pt idx="2683">
                  <c:v>123.33716666666665</c:v>
                </c:pt>
                <c:pt idx="2684">
                  <c:v>122.59566666666667</c:v>
                </c:pt>
                <c:pt idx="2685">
                  <c:v>121.94466666666669</c:v>
                </c:pt>
                <c:pt idx="2686">
                  <c:v>123.16316666666667</c:v>
                </c:pt>
                <c:pt idx="2687">
                  <c:v>122.057</c:v>
                </c:pt>
                <c:pt idx="2688">
                  <c:v>120.60533333333335</c:v>
                </c:pt>
                <c:pt idx="2689">
                  <c:v>119.45416666666669</c:v>
                </c:pt>
                <c:pt idx="2690">
                  <c:v>117.90199999999999</c:v>
                </c:pt>
                <c:pt idx="2691">
                  <c:v>115.41949999999999</c:v>
                </c:pt>
                <c:pt idx="2692">
                  <c:v>112.72966666666666</c:v>
                </c:pt>
                <c:pt idx="2693">
                  <c:v>112.02449999999999</c:v>
                </c:pt>
                <c:pt idx="2694">
                  <c:v>114.9415</c:v>
                </c:pt>
                <c:pt idx="2695">
                  <c:v>119.10583333333331</c:v>
                </c:pt>
                <c:pt idx="2696">
                  <c:v>120.43733333333334</c:v>
                </c:pt>
                <c:pt idx="2697">
                  <c:v>118.01566666666666</c:v>
                </c:pt>
                <c:pt idx="2698">
                  <c:v>117.73050000000001</c:v>
                </c:pt>
                <c:pt idx="2699">
                  <c:v>119.59649999999999</c:v>
                </c:pt>
                <c:pt idx="2700">
                  <c:v>119.50716666666669</c:v>
                </c:pt>
                <c:pt idx="2701">
                  <c:v>117.849</c:v>
                </c:pt>
                <c:pt idx="2702">
                  <c:v>118.29766666666667</c:v>
                </c:pt>
                <c:pt idx="2703">
                  <c:v>122.55683333333332</c:v>
                </c:pt>
                <c:pt idx="2704">
                  <c:v>126.58233333333332</c:v>
                </c:pt>
                <c:pt idx="2705">
                  <c:v>126.75</c:v>
                </c:pt>
                <c:pt idx="2706">
                  <c:v>129.05516666666668</c:v>
                </c:pt>
                <c:pt idx="2707">
                  <c:v>131.14250000000001</c:v>
                </c:pt>
                <c:pt idx="2708">
                  <c:v>131.08833333333334</c:v>
                </c:pt>
                <c:pt idx="2709">
                  <c:v>128.4025</c:v>
                </c:pt>
                <c:pt idx="2710">
                  <c:v>123.45799999999998</c:v>
                </c:pt>
                <c:pt idx="2711">
                  <c:v>123.20316666666668</c:v>
                </c:pt>
                <c:pt idx="2712">
                  <c:v>122.70433333333334</c:v>
                </c:pt>
                <c:pt idx="2713">
                  <c:v>119.82300000000002</c:v>
                </c:pt>
                <c:pt idx="2714">
                  <c:v>116.28816666666665</c:v>
                </c:pt>
                <c:pt idx="2715">
                  <c:v>115.69533333333335</c:v>
                </c:pt>
                <c:pt idx="2716">
                  <c:v>117.53983333333332</c:v>
                </c:pt>
                <c:pt idx="2717">
                  <c:v>115.83799999999998</c:v>
                </c:pt>
                <c:pt idx="2718">
                  <c:v>114.90416666666665</c:v>
                </c:pt>
                <c:pt idx="2719">
                  <c:v>116.73116666666665</c:v>
                </c:pt>
                <c:pt idx="2720">
                  <c:v>118.98099999999999</c:v>
                </c:pt>
                <c:pt idx="2721">
                  <c:v>119.836</c:v>
                </c:pt>
                <c:pt idx="2722">
                  <c:v>117.75766666666665</c:v>
                </c:pt>
                <c:pt idx="2723">
                  <c:v>117.30400000000002</c:v>
                </c:pt>
                <c:pt idx="2724">
                  <c:v>119.17333333333333</c:v>
                </c:pt>
                <c:pt idx="2725">
                  <c:v>118.092</c:v>
                </c:pt>
                <c:pt idx="2726">
                  <c:v>116.07566666666668</c:v>
                </c:pt>
                <c:pt idx="2727">
                  <c:v>116.47349999999999</c:v>
                </c:pt>
                <c:pt idx="2728">
                  <c:v>117.49833333333332</c:v>
                </c:pt>
                <c:pt idx="2729">
                  <c:v>116.07183333333332</c:v>
                </c:pt>
                <c:pt idx="2730">
                  <c:v>126.69466666666666</c:v>
                </c:pt>
                <c:pt idx="2731">
                  <c:v>131.739</c:v>
                </c:pt>
                <c:pt idx="2732">
                  <c:v>129.85666666666665</c:v>
                </c:pt>
                <c:pt idx="2733">
                  <c:v>130.93716666666668</c:v>
                </c:pt>
                <c:pt idx="2734">
                  <c:v>134.22200000000001</c:v>
                </c:pt>
                <c:pt idx="2735">
                  <c:v>137.28766666666667</c:v>
                </c:pt>
                <c:pt idx="2736">
                  <c:v>136.33933333333334</c:v>
                </c:pt>
                <c:pt idx="2737">
                  <c:v>135.65016666666668</c:v>
                </c:pt>
                <c:pt idx="2738">
                  <c:v>138.52566666666667</c:v>
                </c:pt>
                <c:pt idx="2739">
                  <c:v>143.93616666666665</c:v>
                </c:pt>
                <c:pt idx="2740">
                  <c:v>144.66266666666664</c:v>
                </c:pt>
                <c:pt idx="2741">
                  <c:v>144.80616666666666</c:v>
                </c:pt>
                <c:pt idx="2742">
                  <c:v>142.27016666666668</c:v>
                </c:pt>
                <c:pt idx="2743">
                  <c:v>142.54100000000003</c:v>
                </c:pt>
                <c:pt idx="2744">
                  <c:v>135.94483333333332</c:v>
                </c:pt>
                <c:pt idx="2745">
                  <c:v>133.77683333333331</c:v>
                </c:pt>
                <c:pt idx="2746">
                  <c:v>134.35166666666666</c:v>
                </c:pt>
                <c:pt idx="2747">
                  <c:v>137.71566666666669</c:v>
                </c:pt>
                <c:pt idx="2748">
                  <c:v>135.7775</c:v>
                </c:pt>
                <c:pt idx="2749">
                  <c:v>136.114</c:v>
                </c:pt>
                <c:pt idx="2750">
                  <c:v>138.95183333333333</c:v>
                </c:pt>
                <c:pt idx="2751">
                  <c:v>142.87833333333333</c:v>
                </c:pt>
                <c:pt idx="2752">
                  <c:v>144.82983333333331</c:v>
                </c:pt>
                <c:pt idx="2753">
                  <c:v>143.56933333333333</c:v>
                </c:pt>
                <c:pt idx="2754">
                  <c:v>139.64249999999998</c:v>
                </c:pt>
                <c:pt idx="2755">
                  <c:v>140.95600000000002</c:v>
                </c:pt>
                <c:pt idx="2756">
                  <c:v>142.72499999999999</c:v>
                </c:pt>
                <c:pt idx="2757">
                  <c:v>141.87116666666668</c:v>
                </c:pt>
                <c:pt idx="2758">
                  <c:v>140.4385</c:v>
                </c:pt>
                <c:pt idx="2759">
                  <c:v>137.51866666666669</c:v>
                </c:pt>
                <c:pt idx="2760">
                  <c:v>133.29499999999999</c:v>
                </c:pt>
                <c:pt idx="2761">
                  <c:v>125.72450000000002</c:v>
                </c:pt>
                <c:pt idx="2762">
                  <c:v>121.63633333333333</c:v>
                </c:pt>
                <c:pt idx="2763">
                  <c:v>122.8865</c:v>
                </c:pt>
                <c:pt idx="2764">
                  <c:v>124.43983333333334</c:v>
                </c:pt>
                <c:pt idx="2765">
                  <c:v>123.10383333333333</c:v>
                </c:pt>
                <c:pt idx="2766">
                  <c:v>124.30466666666666</c:v>
                </c:pt>
                <c:pt idx="2767">
                  <c:v>124.15333333333335</c:v>
                </c:pt>
                <c:pt idx="2768">
                  <c:v>123.65499999999999</c:v>
                </c:pt>
                <c:pt idx="2769">
                  <c:v>118.43966666666667</c:v>
                </c:pt>
                <c:pt idx="2770">
                  <c:v>116.36633333333333</c:v>
                </c:pt>
                <c:pt idx="2771">
                  <c:v>115.62516666666666</c:v>
                </c:pt>
                <c:pt idx="2772">
                  <c:v>113.15866666666666</c:v>
                </c:pt>
                <c:pt idx="2773">
                  <c:v>109.99733333333332</c:v>
                </c:pt>
                <c:pt idx="2774">
                  <c:v>109.06366666666666</c:v>
                </c:pt>
                <c:pt idx="2775">
                  <c:v>111.488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B9E6-4901-A782-07973215EE43}"/>
            </c:ext>
          </c:extLst>
        </c:ser>
        <c:ser>
          <c:idx val="1"/>
          <c:order val="1"/>
          <c:tx>
            <c:v>Türkiye</c:v>
          </c:tx>
          <c:spPr>
            <a:ln w="38100"/>
          </c:spPr>
          <c:marker>
            <c:symbol val="none"/>
          </c:marker>
          <c:cat>
            <c:numRef>
              <c:f>Sheet1!$B$4:$B$2779</c:f>
              <c:numCache>
                <c:formatCode>m/d/yyyy</c:formatCode>
                <c:ptCount val="2776"/>
                <c:pt idx="0">
                  <c:v>41275</c:v>
                </c:pt>
                <c:pt idx="1">
                  <c:v>41276</c:v>
                </c:pt>
                <c:pt idx="2">
                  <c:v>41277</c:v>
                </c:pt>
                <c:pt idx="3">
                  <c:v>41278</c:v>
                </c:pt>
                <c:pt idx="4">
                  <c:v>41281</c:v>
                </c:pt>
                <c:pt idx="5">
                  <c:v>41282</c:v>
                </c:pt>
                <c:pt idx="6">
                  <c:v>41283</c:v>
                </c:pt>
                <c:pt idx="7">
                  <c:v>41284</c:v>
                </c:pt>
                <c:pt idx="8">
                  <c:v>41285</c:v>
                </c:pt>
                <c:pt idx="9">
                  <c:v>41288</c:v>
                </c:pt>
                <c:pt idx="10">
                  <c:v>41289</c:v>
                </c:pt>
                <c:pt idx="11">
                  <c:v>41290</c:v>
                </c:pt>
                <c:pt idx="12">
                  <c:v>41291</c:v>
                </c:pt>
                <c:pt idx="13">
                  <c:v>41292</c:v>
                </c:pt>
                <c:pt idx="14">
                  <c:v>41295</c:v>
                </c:pt>
                <c:pt idx="15">
                  <c:v>41296</c:v>
                </c:pt>
                <c:pt idx="16">
                  <c:v>41297</c:v>
                </c:pt>
                <c:pt idx="17">
                  <c:v>41298</c:v>
                </c:pt>
                <c:pt idx="18">
                  <c:v>41299</c:v>
                </c:pt>
                <c:pt idx="19">
                  <c:v>41302</c:v>
                </c:pt>
                <c:pt idx="20">
                  <c:v>41303</c:v>
                </c:pt>
                <c:pt idx="21">
                  <c:v>41304</c:v>
                </c:pt>
                <c:pt idx="22">
                  <c:v>41305</c:v>
                </c:pt>
                <c:pt idx="23">
                  <c:v>41306</c:v>
                </c:pt>
                <c:pt idx="24">
                  <c:v>41309</c:v>
                </c:pt>
                <c:pt idx="25">
                  <c:v>41310</c:v>
                </c:pt>
                <c:pt idx="26">
                  <c:v>41311</c:v>
                </c:pt>
                <c:pt idx="27">
                  <c:v>41312</c:v>
                </c:pt>
                <c:pt idx="28">
                  <c:v>41313</c:v>
                </c:pt>
                <c:pt idx="29">
                  <c:v>41316</c:v>
                </c:pt>
                <c:pt idx="30">
                  <c:v>41317</c:v>
                </c:pt>
                <c:pt idx="31">
                  <c:v>41318</c:v>
                </c:pt>
                <c:pt idx="32">
                  <c:v>41319</c:v>
                </c:pt>
                <c:pt idx="33">
                  <c:v>41320</c:v>
                </c:pt>
                <c:pt idx="34">
                  <c:v>41323</c:v>
                </c:pt>
                <c:pt idx="35">
                  <c:v>41324</c:v>
                </c:pt>
                <c:pt idx="36">
                  <c:v>41325</c:v>
                </c:pt>
                <c:pt idx="37">
                  <c:v>41326</c:v>
                </c:pt>
                <c:pt idx="38">
                  <c:v>41327</c:v>
                </c:pt>
                <c:pt idx="39">
                  <c:v>41330</c:v>
                </c:pt>
                <c:pt idx="40">
                  <c:v>41331</c:v>
                </c:pt>
                <c:pt idx="41">
                  <c:v>41332</c:v>
                </c:pt>
                <c:pt idx="42">
                  <c:v>41333</c:v>
                </c:pt>
                <c:pt idx="43">
                  <c:v>41334</c:v>
                </c:pt>
                <c:pt idx="44">
                  <c:v>41337</c:v>
                </c:pt>
                <c:pt idx="45">
                  <c:v>41338</c:v>
                </c:pt>
                <c:pt idx="46">
                  <c:v>41339</c:v>
                </c:pt>
                <c:pt idx="47">
                  <c:v>41340</c:v>
                </c:pt>
                <c:pt idx="48">
                  <c:v>41341</c:v>
                </c:pt>
                <c:pt idx="49">
                  <c:v>41344</c:v>
                </c:pt>
                <c:pt idx="50">
                  <c:v>41345</c:v>
                </c:pt>
                <c:pt idx="51">
                  <c:v>41346</c:v>
                </c:pt>
                <c:pt idx="52">
                  <c:v>41347</c:v>
                </c:pt>
                <c:pt idx="53">
                  <c:v>41348</c:v>
                </c:pt>
                <c:pt idx="54">
                  <c:v>41351</c:v>
                </c:pt>
                <c:pt idx="55">
                  <c:v>41352</c:v>
                </c:pt>
                <c:pt idx="56">
                  <c:v>41353</c:v>
                </c:pt>
                <c:pt idx="57">
                  <c:v>41354</c:v>
                </c:pt>
                <c:pt idx="58">
                  <c:v>41355</c:v>
                </c:pt>
                <c:pt idx="59">
                  <c:v>41358</c:v>
                </c:pt>
                <c:pt idx="60">
                  <c:v>41359</c:v>
                </c:pt>
                <c:pt idx="61">
                  <c:v>41360</c:v>
                </c:pt>
                <c:pt idx="62">
                  <c:v>41361</c:v>
                </c:pt>
                <c:pt idx="63">
                  <c:v>41362</c:v>
                </c:pt>
                <c:pt idx="64">
                  <c:v>41365</c:v>
                </c:pt>
                <c:pt idx="65">
                  <c:v>41366</c:v>
                </c:pt>
                <c:pt idx="66">
                  <c:v>41367</c:v>
                </c:pt>
                <c:pt idx="67">
                  <c:v>41368</c:v>
                </c:pt>
                <c:pt idx="68">
                  <c:v>41369</c:v>
                </c:pt>
                <c:pt idx="69">
                  <c:v>41372</c:v>
                </c:pt>
                <c:pt idx="70">
                  <c:v>41373</c:v>
                </c:pt>
                <c:pt idx="71">
                  <c:v>41374</c:v>
                </c:pt>
                <c:pt idx="72">
                  <c:v>41375</c:v>
                </c:pt>
                <c:pt idx="73">
                  <c:v>41376</c:v>
                </c:pt>
                <c:pt idx="74">
                  <c:v>41379</c:v>
                </c:pt>
                <c:pt idx="75">
                  <c:v>41380</c:v>
                </c:pt>
                <c:pt idx="76">
                  <c:v>41381</c:v>
                </c:pt>
                <c:pt idx="77">
                  <c:v>41382</c:v>
                </c:pt>
                <c:pt idx="78">
                  <c:v>41383</c:v>
                </c:pt>
                <c:pt idx="79">
                  <c:v>41386</c:v>
                </c:pt>
                <c:pt idx="80">
                  <c:v>41387</c:v>
                </c:pt>
                <c:pt idx="81">
                  <c:v>41388</c:v>
                </c:pt>
                <c:pt idx="82">
                  <c:v>41389</c:v>
                </c:pt>
                <c:pt idx="83">
                  <c:v>41390</c:v>
                </c:pt>
                <c:pt idx="84">
                  <c:v>41393</c:v>
                </c:pt>
                <c:pt idx="85">
                  <c:v>41394</c:v>
                </c:pt>
                <c:pt idx="86">
                  <c:v>41395</c:v>
                </c:pt>
                <c:pt idx="87">
                  <c:v>41396</c:v>
                </c:pt>
                <c:pt idx="88">
                  <c:v>41397</c:v>
                </c:pt>
                <c:pt idx="89">
                  <c:v>41400</c:v>
                </c:pt>
                <c:pt idx="90">
                  <c:v>41401</c:v>
                </c:pt>
                <c:pt idx="91">
                  <c:v>41402</c:v>
                </c:pt>
                <c:pt idx="92">
                  <c:v>41403</c:v>
                </c:pt>
                <c:pt idx="93">
                  <c:v>41404</c:v>
                </c:pt>
                <c:pt idx="94">
                  <c:v>41407</c:v>
                </c:pt>
                <c:pt idx="95">
                  <c:v>41408</c:v>
                </c:pt>
                <c:pt idx="96">
                  <c:v>41409</c:v>
                </c:pt>
                <c:pt idx="97">
                  <c:v>41410</c:v>
                </c:pt>
                <c:pt idx="98">
                  <c:v>41411</c:v>
                </c:pt>
                <c:pt idx="99">
                  <c:v>41414</c:v>
                </c:pt>
                <c:pt idx="100">
                  <c:v>41415</c:v>
                </c:pt>
                <c:pt idx="101">
                  <c:v>41416</c:v>
                </c:pt>
                <c:pt idx="102">
                  <c:v>41417</c:v>
                </c:pt>
                <c:pt idx="103">
                  <c:v>41418</c:v>
                </c:pt>
                <c:pt idx="104">
                  <c:v>41421</c:v>
                </c:pt>
                <c:pt idx="105">
                  <c:v>41422</c:v>
                </c:pt>
                <c:pt idx="106">
                  <c:v>41423</c:v>
                </c:pt>
                <c:pt idx="107">
                  <c:v>41424</c:v>
                </c:pt>
                <c:pt idx="108">
                  <c:v>41425</c:v>
                </c:pt>
                <c:pt idx="109">
                  <c:v>41428</c:v>
                </c:pt>
                <c:pt idx="110">
                  <c:v>41429</c:v>
                </c:pt>
                <c:pt idx="111">
                  <c:v>41430</c:v>
                </c:pt>
                <c:pt idx="112">
                  <c:v>41431</c:v>
                </c:pt>
                <c:pt idx="113">
                  <c:v>41432</c:v>
                </c:pt>
                <c:pt idx="114">
                  <c:v>41435</c:v>
                </c:pt>
                <c:pt idx="115">
                  <c:v>41436</c:v>
                </c:pt>
                <c:pt idx="116">
                  <c:v>41437</c:v>
                </c:pt>
                <c:pt idx="117">
                  <c:v>41438</c:v>
                </c:pt>
                <c:pt idx="118">
                  <c:v>41439</c:v>
                </c:pt>
                <c:pt idx="119">
                  <c:v>41442</c:v>
                </c:pt>
                <c:pt idx="120">
                  <c:v>41443</c:v>
                </c:pt>
                <c:pt idx="121">
                  <c:v>41444</c:v>
                </c:pt>
                <c:pt idx="122">
                  <c:v>41445</c:v>
                </c:pt>
                <c:pt idx="123">
                  <c:v>41446</c:v>
                </c:pt>
                <c:pt idx="124">
                  <c:v>41449</c:v>
                </c:pt>
                <c:pt idx="125">
                  <c:v>41450</c:v>
                </c:pt>
                <c:pt idx="126">
                  <c:v>41451</c:v>
                </c:pt>
                <c:pt idx="127">
                  <c:v>41452</c:v>
                </c:pt>
                <c:pt idx="128">
                  <c:v>41453</c:v>
                </c:pt>
                <c:pt idx="129">
                  <c:v>41456</c:v>
                </c:pt>
                <c:pt idx="130">
                  <c:v>41457</c:v>
                </c:pt>
                <c:pt idx="131">
                  <c:v>41458</c:v>
                </c:pt>
                <c:pt idx="132">
                  <c:v>41459</c:v>
                </c:pt>
                <c:pt idx="133">
                  <c:v>41460</c:v>
                </c:pt>
                <c:pt idx="134">
                  <c:v>41463</c:v>
                </c:pt>
                <c:pt idx="135">
                  <c:v>41464</c:v>
                </c:pt>
                <c:pt idx="136">
                  <c:v>41465</c:v>
                </c:pt>
                <c:pt idx="137">
                  <c:v>41466</c:v>
                </c:pt>
                <c:pt idx="138">
                  <c:v>41467</c:v>
                </c:pt>
                <c:pt idx="139">
                  <c:v>41470</c:v>
                </c:pt>
                <c:pt idx="140">
                  <c:v>41471</c:v>
                </c:pt>
                <c:pt idx="141">
                  <c:v>41472</c:v>
                </c:pt>
                <c:pt idx="142">
                  <c:v>41473</c:v>
                </c:pt>
                <c:pt idx="143">
                  <c:v>41474</c:v>
                </c:pt>
                <c:pt idx="144">
                  <c:v>41477</c:v>
                </c:pt>
                <c:pt idx="145">
                  <c:v>41478</c:v>
                </c:pt>
                <c:pt idx="146">
                  <c:v>41479</c:v>
                </c:pt>
                <c:pt idx="147">
                  <c:v>41480</c:v>
                </c:pt>
                <c:pt idx="148">
                  <c:v>41481</c:v>
                </c:pt>
                <c:pt idx="149">
                  <c:v>41484</c:v>
                </c:pt>
                <c:pt idx="150">
                  <c:v>41485</c:v>
                </c:pt>
                <c:pt idx="151">
                  <c:v>41486</c:v>
                </c:pt>
                <c:pt idx="152">
                  <c:v>41487</c:v>
                </c:pt>
                <c:pt idx="153">
                  <c:v>41488</c:v>
                </c:pt>
                <c:pt idx="154">
                  <c:v>41491</c:v>
                </c:pt>
                <c:pt idx="155">
                  <c:v>41492</c:v>
                </c:pt>
                <c:pt idx="156">
                  <c:v>41493</c:v>
                </c:pt>
                <c:pt idx="157">
                  <c:v>41494</c:v>
                </c:pt>
                <c:pt idx="158">
                  <c:v>41495</c:v>
                </c:pt>
                <c:pt idx="159">
                  <c:v>41498</c:v>
                </c:pt>
                <c:pt idx="160">
                  <c:v>41499</c:v>
                </c:pt>
                <c:pt idx="161">
                  <c:v>41500</c:v>
                </c:pt>
                <c:pt idx="162">
                  <c:v>41501</c:v>
                </c:pt>
                <c:pt idx="163">
                  <c:v>41502</c:v>
                </c:pt>
                <c:pt idx="164">
                  <c:v>41505</c:v>
                </c:pt>
                <c:pt idx="165">
                  <c:v>41506</c:v>
                </c:pt>
                <c:pt idx="166">
                  <c:v>41507</c:v>
                </c:pt>
                <c:pt idx="167">
                  <c:v>41508</c:v>
                </c:pt>
                <c:pt idx="168">
                  <c:v>41509</c:v>
                </c:pt>
                <c:pt idx="169">
                  <c:v>41512</c:v>
                </c:pt>
                <c:pt idx="170">
                  <c:v>41513</c:v>
                </c:pt>
                <c:pt idx="171">
                  <c:v>41514</c:v>
                </c:pt>
                <c:pt idx="172">
                  <c:v>41515</c:v>
                </c:pt>
                <c:pt idx="173">
                  <c:v>41516</c:v>
                </c:pt>
                <c:pt idx="174">
                  <c:v>41519</c:v>
                </c:pt>
                <c:pt idx="175">
                  <c:v>41520</c:v>
                </c:pt>
                <c:pt idx="176">
                  <c:v>41521</c:v>
                </c:pt>
                <c:pt idx="177">
                  <c:v>41522</c:v>
                </c:pt>
                <c:pt idx="178">
                  <c:v>41523</c:v>
                </c:pt>
                <c:pt idx="179">
                  <c:v>41526</c:v>
                </c:pt>
                <c:pt idx="180">
                  <c:v>41527</c:v>
                </c:pt>
                <c:pt idx="181">
                  <c:v>41528</c:v>
                </c:pt>
                <c:pt idx="182">
                  <c:v>41529</c:v>
                </c:pt>
                <c:pt idx="183">
                  <c:v>41530</c:v>
                </c:pt>
                <c:pt idx="184">
                  <c:v>41533</c:v>
                </c:pt>
                <c:pt idx="185">
                  <c:v>41534</c:v>
                </c:pt>
                <c:pt idx="186">
                  <c:v>41535</c:v>
                </c:pt>
                <c:pt idx="187">
                  <c:v>41536</c:v>
                </c:pt>
                <c:pt idx="188">
                  <c:v>41537</c:v>
                </c:pt>
                <c:pt idx="189">
                  <c:v>41540</c:v>
                </c:pt>
                <c:pt idx="190">
                  <c:v>41541</c:v>
                </c:pt>
                <c:pt idx="191">
                  <c:v>41542</c:v>
                </c:pt>
                <c:pt idx="192">
                  <c:v>41543</c:v>
                </c:pt>
                <c:pt idx="193">
                  <c:v>41572</c:v>
                </c:pt>
                <c:pt idx="194">
                  <c:v>41575</c:v>
                </c:pt>
                <c:pt idx="195">
                  <c:v>41576</c:v>
                </c:pt>
                <c:pt idx="196">
                  <c:v>41577</c:v>
                </c:pt>
                <c:pt idx="197">
                  <c:v>41578</c:v>
                </c:pt>
                <c:pt idx="198">
                  <c:v>41579</c:v>
                </c:pt>
                <c:pt idx="199">
                  <c:v>41582</c:v>
                </c:pt>
                <c:pt idx="200">
                  <c:v>41583</c:v>
                </c:pt>
                <c:pt idx="201">
                  <c:v>41584</c:v>
                </c:pt>
                <c:pt idx="202">
                  <c:v>41585</c:v>
                </c:pt>
                <c:pt idx="203">
                  <c:v>41586</c:v>
                </c:pt>
                <c:pt idx="204">
                  <c:v>41589</c:v>
                </c:pt>
                <c:pt idx="205">
                  <c:v>41590</c:v>
                </c:pt>
                <c:pt idx="206">
                  <c:v>41591</c:v>
                </c:pt>
                <c:pt idx="207">
                  <c:v>41592</c:v>
                </c:pt>
                <c:pt idx="208">
                  <c:v>41593</c:v>
                </c:pt>
                <c:pt idx="209">
                  <c:v>41596</c:v>
                </c:pt>
                <c:pt idx="210">
                  <c:v>41597</c:v>
                </c:pt>
                <c:pt idx="211">
                  <c:v>41598</c:v>
                </c:pt>
                <c:pt idx="212">
                  <c:v>41599</c:v>
                </c:pt>
                <c:pt idx="213">
                  <c:v>41600</c:v>
                </c:pt>
                <c:pt idx="214">
                  <c:v>41603</c:v>
                </c:pt>
                <c:pt idx="215">
                  <c:v>41604</c:v>
                </c:pt>
                <c:pt idx="216">
                  <c:v>41605</c:v>
                </c:pt>
                <c:pt idx="217">
                  <c:v>41606</c:v>
                </c:pt>
                <c:pt idx="218">
                  <c:v>41607</c:v>
                </c:pt>
                <c:pt idx="219">
                  <c:v>41610</c:v>
                </c:pt>
                <c:pt idx="220">
                  <c:v>41611</c:v>
                </c:pt>
                <c:pt idx="221">
                  <c:v>41612</c:v>
                </c:pt>
                <c:pt idx="222">
                  <c:v>41613</c:v>
                </c:pt>
                <c:pt idx="223">
                  <c:v>41614</c:v>
                </c:pt>
                <c:pt idx="224">
                  <c:v>41617</c:v>
                </c:pt>
                <c:pt idx="225">
                  <c:v>41618</c:v>
                </c:pt>
                <c:pt idx="226">
                  <c:v>41619</c:v>
                </c:pt>
                <c:pt idx="227">
                  <c:v>41620</c:v>
                </c:pt>
                <c:pt idx="228">
                  <c:v>41621</c:v>
                </c:pt>
                <c:pt idx="229">
                  <c:v>41624</c:v>
                </c:pt>
                <c:pt idx="230">
                  <c:v>41625</c:v>
                </c:pt>
                <c:pt idx="231">
                  <c:v>41626</c:v>
                </c:pt>
                <c:pt idx="232">
                  <c:v>41627</c:v>
                </c:pt>
                <c:pt idx="233">
                  <c:v>41628</c:v>
                </c:pt>
                <c:pt idx="234">
                  <c:v>41631</c:v>
                </c:pt>
                <c:pt idx="235">
                  <c:v>41632</c:v>
                </c:pt>
                <c:pt idx="236">
                  <c:v>41633</c:v>
                </c:pt>
                <c:pt idx="237">
                  <c:v>41634</c:v>
                </c:pt>
                <c:pt idx="238">
                  <c:v>41635</c:v>
                </c:pt>
                <c:pt idx="239">
                  <c:v>41638</c:v>
                </c:pt>
                <c:pt idx="240">
                  <c:v>41639</c:v>
                </c:pt>
                <c:pt idx="241">
                  <c:v>41640</c:v>
                </c:pt>
                <c:pt idx="242">
                  <c:v>41641</c:v>
                </c:pt>
                <c:pt idx="243">
                  <c:v>41642</c:v>
                </c:pt>
                <c:pt idx="244">
                  <c:v>41645</c:v>
                </c:pt>
                <c:pt idx="245">
                  <c:v>41646</c:v>
                </c:pt>
                <c:pt idx="246">
                  <c:v>41647</c:v>
                </c:pt>
                <c:pt idx="247">
                  <c:v>41648</c:v>
                </c:pt>
                <c:pt idx="248">
                  <c:v>41649</c:v>
                </c:pt>
                <c:pt idx="249">
                  <c:v>41652</c:v>
                </c:pt>
                <c:pt idx="250">
                  <c:v>41653</c:v>
                </c:pt>
                <c:pt idx="251">
                  <c:v>41654</c:v>
                </c:pt>
                <c:pt idx="252">
                  <c:v>41655</c:v>
                </c:pt>
                <c:pt idx="253">
                  <c:v>41656</c:v>
                </c:pt>
                <c:pt idx="254">
                  <c:v>41659</c:v>
                </c:pt>
                <c:pt idx="255">
                  <c:v>41660</c:v>
                </c:pt>
                <c:pt idx="256">
                  <c:v>41661</c:v>
                </c:pt>
                <c:pt idx="257">
                  <c:v>41662</c:v>
                </c:pt>
                <c:pt idx="258">
                  <c:v>41663</c:v>
                </c:pt>
                <c:pt idx="259">
                  <c:v>41666</c:v>
                </c:pt>
                <c:pt idx="260">
                  <c:v>41667</c:v>
                </c:pt>
                <c:pt idx="261">
                  <c:v>41668</c:v>
                </c:pt>
                <c:pt idx="262">
                  <c:v>41669</c:v>
                </c:pt>
                <c:pt idx="263">
                  <c:v>41670</c:v>
                </c:pt>
                <c:pt idx="264">
                  <c:v>41673</c:v>
                </c:pt>
                <c:pt idx="265">
                  <c:v>41674</c:v>
                </c:pt>
                <c:pt idx="266">
                  <c:v>41675</c:v>
                </c:pt>
                <c:pt idx="267">
                  <c:v>41676</c:v>
                </c:pt>
                <c:pt idx="268">
                  <c:v>41677</c:v>
                </c:pt>
                <c:pt idx="269">
                  <c:v>41680</c:v>
                </c:pt>
                <c:pt idx="270">
                  <c:v>41681</c:v>
                </c:pt>
                <c:pt idx="271">
                  <c:v>41682</c:v>
                </c:pt>
                <c:pt idx="272">
                  <c:v>41683</c:v>
                </c:pt>
                <c:pt idx="273">
                  <c:v>41684</c:v>
                </c:pt>
                <c:pt idx="274">
                  <c:v>41687</c:v>
                </c:pt>
                <c:pt idx="275">
                  <c:v>41688</c:v>
                </c:pt>
                <c:pt idx="276">
                  <c:v>41689</c:v>
                </c:pt>
                <c:pt idx="277">
                  <c:v>41690</c:v>
                </c:pt>
                <c:pt idx="278">
                  <c:v>41691</c:v>
                </c:pt>
                <c:pt idx="279">
                  <c:v>41694</c:v>
                </c:pt>
                <c:pt idx="280">
                  <c:v>41695</c:v>
                </c:pt>
                <c:pt idx="281">
                  <c:v>41696</c:v>
                </c:pt>
                <c:pt idx="282">
                  <c:v>41697</c:v>
                </c:pt>
                <c:pt idx="283">
                  <c:v>41698</c:v>
                </c:pt>
                <c:pt idx="284">
                  <c:v>41701</c:v>
                </c:pt>
                <c:pt idx="285">
                  <c:v>41702</c:v>
                </c:pt>
                <c:pt idx="286">
                  <c:v>41703</c:v>
                </c:pt>
                <c:pt idx="287">
                  <c:v>41704</c:v>
                </c:pt>
                <c:pt idx="288">
                  <c:v>41705</c:v>
                </c:pt>
                <c:pt idx="289">
                  <c:v>41708</c:v>
                </c:pt>
                <c:pt idx="290">
                  <c:v>41709</c:v>
                </c:pt>
                <c:pt idx="291">
                  <c:v>41710</c:v>
                </c:pt>
                <c:pt idx="292">
                  <c:v>41711</c:v>
                </c:pt>
                <c:pt idx="293">
                  <c:v>41712</c:v>
                </c:pt>
                <c:pt idx="294">
                  <c:v>41715</c:v>
                </c:pt>
                <c:pt idx="295">
                  <c:v>41716</c:v>
                </c:pt>
                <c:pt idx="296">
                  <c:v>41717</c:v>
                </c:pt>
                <c:pt idx="297">
                  <c:v>41718</c:v>
                </c:pt>
                <c:pt idx="298">
                  <c:v>41719</c:v>
                </c:pt>
                <c:pt idx="299">
                  <c:v>41722</c:v>
                </c:pt>
                <c:pt idx="300">
                  <c:v>41723</c:v>
                </c:pt>
                <c:pt idx="301">
                  <c:v>41724</c:v>
                </c:pt>
                <c:pt idx="302">
                  <c:v>41725</c:v>
                </c:pt>
                <c:pt idx="303">
                  <c:v>41726</c:v>
                </c:pt>
                <c:pt idx="304">
                  <c:v>41729</c:v>
                </c:pt>
                <c:pt idx="305">
                  <c:v>41730</c:v>
                </c:pt>
                <c:pt idx="306">
                  <c:v>41731</c:v>
                </c:pt>
                <c:pt idx="307">
                  <c:v>41732</c:v>
                </c:pt>
                <c:pt idx="308">
                  <c:v>41733</c:v>
                </c:pt>
                <c:pt idx="309">
                  <c:v>41736</c:v>
                </c:pt>
                <c:pt idx="310">
                  <c:v>41737</c:v>
                </c:pt>
                <c:pt idx="311">
                  <c:v>41738</c:v>
                </c:pt>
                <c:pt idx="312">
                  <c:v>41739</c:v>
                </c:pt>
                <c:pt idx="313">
                  <c:v>41740</c:v>
                </c:pt>
                <c:pt idx="314">
                  <c:v>41743</c:v>
                </c:pt>
                <c:pt idx="315">
                  <c:v>41744</c:v>
                </c:pt>
                <c:pt idx="316">
                  <c:v>41745</c:v>
                </c:pt>
                <c:pt idx="317">
                  <c:v>41746</c:v>
                </c:pt>
                <c:pt idx="318">
                  <c:v>41747</c:v>
                </c:pt>
                <c:pt idx="319">
                  <c:v>41750</c:v>
                </c:pt>
                <c:pt idx="320">
                  <c:v>41751</c:v>
                </c:pt>
                <c:pt idx="321">
                  <c:v>41752</c:v>
                </c:pt>
                <c:pt idx="322">
                  <c:v>41753</c:v>
                </c:pt>
                <c:pt idx="323">
                  <c:v>41754</c:v>
                </c:pt>
                <c:pt idx="324">
                  <c:v>41757</c:v>
                </c:pt>
                <c:pt idx="325">
                  <c:v>41758</c:v>
                </c:pt>
                <c:pt idx="326">
                  <c:v>41759</c:v>
                </c:pt>
                <c:pt idx="327">
                  <c:v>41760</c:v>
                </c:pt>
                <c:pt idx="328">
                  <c:v>41761</c:v>
                </c:pt>
                <c:pt idx="329">
                  <c:v>41764</c:v>
                </c:pt>
                <c:pt idx="330">
                  <c:v>41765</c:v>
                </c:pt>
                <c:pt idx="331">
                  <c:v>41766</c:v>
                </c:pt>
                <c:pt idx="332">
                  <c:v>41767</c:v>
                </c:pt>
                <c:pt idx="333">
                  <c:v>41768</c:v>
                </c:pt>
                <c:pt idx="334">
                  <c:v>41771</c:v>
                </c:pt>
                <c:pt idx="335">
                  <c:v>41772</c:v>
                </c:pt>
                <c:pt idx="336">
                  <c:v>41773</c:v>
                </c:pt>
                <c:pt idx="337">
                  <c:v>41774</c:v>
                </c:pt>
                <c:pt idx="338">
                  <c:v>41775</c:v>
                </c:pt>
                <c:pt idx="339">
                  <c:v>41778</c:v>
                </c:pt>
                <c:pt idx="340">
                  <c:v>41779</c:v>
                </c:pt>
                <c:pt idx="341">
                  <c:v>41780</c:v>
                </c:pt>
                <c:pt idx="342">
                  <c:v>41781</c:v>
                </c:pt>
                <c:pt idx="343">
                  <c:v>41782</c:v>
                </c:pt>
                <c:pt idx="344">
                  <c:v>41785</c:v>
                </c:pt>
                <c:pt idx="345">
                  <c:v>41786</c:v>
                </c:pt>
                <c:pt idx="346">
                  <c:v>41787</c:v>
                </c:pt>
                <c:pt idx="347">
                  <c:v>41788</c:v>
                </c:pt>
                <c:pt idx="348">
                  <c:v>41789</c:v>
                </c:pt>
                <c:pt idx="349">
                  <c:v>41792</c:v>
                </c:pt>
                <c:pt idx="350">
                  <c:v>41793</c:v>
                </c:pt>
                <c:pt idx="351">
                  <c:v>41794</c:v>
                </c:pt>
                <c:pt idx="352">
                  <c:v>41795</c:v>
                </c:pt>
                <c:pt idx="353">
                  <c:v>41796</c:v>
                </c:pt>
                <c:pt idx="354">
                  <c:v>41799</c:v>
                </c:pt>
                <c:pt idx="355">
                  <c:v>41800</c:v>
                </c:pt>
                <c:pt idx="356">
                  <c:v>41801</c:v>
                </c:pt>
                <c:pt idx="357">
                  <c:v>41802</c:v>
                </c:pt>
                <c:pt idx="358">
                  <c:v>41803</c:v>
                </c:pt>
                <c:pt idx="359">
                  <c:v>41806</c:v>
                </c:pt>
                <c:pt idx="360">
                  <c:v>41807</c:v>
                </c:pt>
                <c:pt idx="361">
                  <c:v>41808</c:v>
                </c:pt>
                <c:pt idx="362">
                  <c:v>41809</c:v>
                </c:pt>
                <c:pt idx="363">
                  <c:v>41810</c:v>
                </c:pt>
                <c:pt idx="364">
                  <c:v>41813</c:v>
                </c:pt>
                <c:pt idx="365">
                  <c:v>41814</c:v>
                </c:pt>
                <c:pt idx="366">
                  <c:v>41815</c:v>
                </c:pt>
                <c:pt idx="367">
                  <c:v>41816</c:v>
                </c:pt>
                <c:pt idx="368">
                  <c:v>41817</c:v>
                </c:pt>
                <c:pt idx="369">
                  <c:v>41820</c:v>
                </c:pt>
                <c:pt idx="370">
                  <c:v>41821</c:v>
                </c:pt>
                <c:pt idx="371">
                  <c:v>41822</c:v>
                </c:pt>
                <c:pt idx="372">
                  <c:v>41823</c:v>
                </c:pt>
                <c:pt idx="373">
                  <c:v>41824</c:v>
                </c:pt>
                <c:pt idx="374">
                  <c:v>41827</c:v>
                </c:pt>
                <c:pt idx="375">
                  <c:v>41828</c:v>
                </c:pt>
                <c:pt idx="376">
                  <c:v>41829</c:v>
                </c:pt>
                <c:pt idx="377">
                  <c:v>41830</c:v>
                </c:pt>
                <c:pt idx="378">
                  <c:v>41831</c:v>
                </c:pt>
                <c:pt idx="379">
                  <c:v>41834</c:v>
                </c:pt>
                <c:pt idx="380">
                  <c:v>41835</c:v>
                </c:pt>
                <c:pt idx="381">
                  <c:v>41836</c:v>
                </c:pt>
                <c:pt idx="382">
                  <c:v>41837</c:v>
                </c:pt>
                <c:pt idx="383">
                  <c:v>41838</c:v>
                </c:pt>
                <c:pt idx="384">
                  <c:v>41841</c:v>
                </c:pt>
                <c:pt idx="385">
                  <c:v>41842</c:v>
                </c:pt>
                <c:pt idx="386">
                  <c:v>41843</c:v>
                </c:pt>
                <c:pt idx="387">
                  <c:v>41844</c:v>
                </c:pt>
                <c:pt idx="388">
                  <c:v>41845</c:v>
                </c:pt>
                <c:pt idx="389">
                  <c:v>41848</c:v>
                </c:pt>
                <c:pt idx="390">
                  <c:v>41849</c:v>
                </c:pt>
                <c:pt idx="391">
                  <c:v>41850</c:v>
                </c:pt>
                <c:pt idx="392">
                  <c:v>41851</c:v>
                </c:pt>
                <c:pt idx="393">
                  <c:v>41852</c:v>
                </c:pt>
                <c:pt idx="394">
                  <c:v>41855</c:v>
                </c:pt>
                <c:pt idx="395">
                  <c:v>41856</c:v>
                </c:pt>
                <c:pt idx="396">
                  <c:v>41857</c:v>
                </c:pt>
                <c:pt idx="397">
                  <c:v>41858</c:v>
                </c:pt>
                <c:pt idx="398">
                  <c:v>41859</c:v>
                </c:pt>
                <c:pt idx="399">
                  <c:v>41862</c:v>
                </c:pt>
                <c:pt idx="400">
                  <c:v>41863</c:v>
                </c:pt>
                <c:pt idx="401">
                  <c:v>41864</c:v>
                </c:pt>
                <c:pt idx="402">
                  <c:v>41865</c:v>
                </c:pt>
                <c:pt idx="403">
                  <c:v>41866</c:v>
                </c:pt>
                <c:pt idx="404">
                  <c:v>41869</c:v>
                </c:pt>
                <c:pt idx="405">
                  <c:v>41870</c:v>
                </c:pt>
                <c:pt idx="406">
                  <c:v>41871</c:v>
                </c:pt>
                <c:pt idx="407">
                  <c:v>41872</c:v>
                </c:pt>
                <c:pt idx="408">
                  <c:v>41873</c:v>
                </c:pt>
                <c:pt idx="409">
                  <c:v>41876</c:v>
                </c:pt>
                <c:pt idx="410">
                  <c:v>41877</c:v>
                </c:pt>
                <c:pt idx="411">
                  <c:v>41878</c:v>
                </c:pt>
                <c:pt idx="412">
                  <c:v>41879</c:v>
                </c:pt>
                <c:pt idx="413">
                  <c:v>41880</c:v>
                </c:pt>
                <c:pt idx="414">
                  <c:v>41883</c:v>
                </c:pt>
                <c:pt idx="415">
                  <c:v>41884</c:v>
                </c:pt>
                <c:pt idx="416">
                  <c:v>41885</c:v>
                </c:pt>
                <c:pt idx="417">
                  <c:v>41886</c:v>
                </c:pt>
                <c:pt idx="418">
                  <c:v>41887</c:v>
                </c:pt>
                <c:pt idx="419">
                  <c:v>41890</c:v>
                </c:pt>
                <c:pt idx="420">
                  <c:v>41891</c:v>
                </c:pt>
                <c:pt idx="421">
                  <c:v>41892</c:v>
                </c:pt>
                <c:pt idx="422">
                  <c:v>41893</c:v>
                </c:pt>
                <c:pt idx="423">
                  <c:v>41894</c:v>
                </c:pt>
                <c:pt idx="424">
                  <c:v>41897</c:v>
                </c:pt>
                <c:pt idx="425">
                  <c:v>41898</c:v>
                </c:pt>
                <c:pt idx="426">
                  <c:v>41899</c:v>
                </c:pt>
                <c:pt idx="427">
                  <c:v>41900</c:v>
                </c:pt>
                <c:pt idx="428">
                  <c:v>41901</c:v>
                </c:pt>
                <c:pt idx="429">
                  <c:v>41904</c:v>
                </c:pt>
                <c:pt idx="430">
                  <c:v>41905</c:v>
                </c:pt>
                <c:pt idx="431">
                  <c:v>41906</c:v>
                </c:pt>
                <c:pt idx="432">
                  <c:v>41907</c:v>
                </c:pt>
                <c:pt idx="433">
                  <c:v>41908</c:v>
                </c:pt>
                <c:pt idx="434">
                  <c:v>41911</c:v>
                </c:pt>
                <c:pt idx="435">
                  <c:v>41912</c:v>
                </c:pt>
                <c:pt idx="436">
                  <c:v>41913</c:v>
                </c:pt>
                <c:pt idx="437">
                  <c:v>41914</c:v>
                </c:pt>
                <c:pt idx="438">
                  <c:v>41915</c:v>
                </c:pt>
                <c:pt idx="439">
                  <c:v>41918</c:v>
                </c:pt>
                <c:pt idx="440">
                  <c:v>41919</c:v>
                </c:pt>
                <c:pt idx="441">
                  <c:v>41920</c:v>
                </c:pt>
                <c:pt idx="442">
                  <c:v>41921</c:v>
                </c:pt>
                <c:pt idx="443">
                  <c:v>41922</c:v>
                </c:pt>
                <c:pt idx="444">
                  <c:v>41925</c:v>
                </c:pt>
                <c:pt idx="445">
                  <c:v>41926</c:v>
                </c:pt>
                <c:pt idx="446">
                  <c:v>41927</c:v>
                </c:pt>
                <c:pt idx="447">
                  <c:v>41928</c:v>
                </c:pt>
                <c:pt idx="448">
                  <c:v>41929</c:v>
                </c:pt>
                <c:pt idx="449">
                  <c:v>41932</c:v>
                </c:pt>
                <c:pt idx="450">
                  <c:v>41933</c:v>
                </c:pt>
                <c:pt idx="451">
                  <c:v>41934</c:v>
                </c:pt>
                <c:pt idx="452">
                  <c:v>41935</c:v>
                </c:pt>
                <c:pt idx="453">
                  <c:v>41936</c:v>
                </c:pt>
                <c:pt idx="454">
                  <c:v>41939</c:v>
                </c:pt>
                <c:pt idx="455">
                  <c:v>41940</c:v>
                </c:pt>
                <c:pt idx="456">
                  <c:v>41941</c:v>
                </c:pt>
                <c:pt idx="457">
                  <c:v>41942</c:v>
                </c:pt>
                <c:pt idx="458">
                  <c:v>41943</c:v>
                </c:pt>
                <c:pt idx="459">
                  <c:v>41946</c:v>
                </c:pt>
                <c:pt idx="460">
                  <c:v>41947</c:v>
                </c:pt>
                <c:pt idx="461">
                  <c:v>41948</c:v>
                </c:pt>
                <c:pt idx="462">
                  <c:v>41949</c:v>
                </c:pt>
                <c:pt idx="463">
                  <c:v>41950</c:v>
                </c:pt>
                <c:pt idx="464">
                  <c:v>41953</c:v>
                </c:pt>
                <c:pt idx="465">
                  <c:v>41954</c:v>
                </c:pt>
                <c:pt idx="466">
                  <c:v>41955</c:v>
                </c:pt>
                <c:pt idx="467">
                  <c:v>41956</c:v>
                </c:pt>
                <c:pt idx="468">
                  <c:v>41957</c:v>
                </c:pt>
                <c:pt idx="469">
                  <c:v>41960</c:v>
                </c:pt>
                <c:pt idx="470">
                  <c:v>41961</c:v>
                </c:pt>
                <c:pt idx="471">
                  <c:v>41962</c:v>
                </c:pt>
                <c:pt idx="472">
                  <c:v>41963</c:v>
                </c:pt>
                <c:pt idx="473">
                  <c:v>41964</c:v>
                </c:pt>
                <c:pt idx="474">
                  <c:v>41967</c:v>
                </c:pt>
                <c:pt idx="475">
                  <c:v>41968</c:v>
                </c:pt>
                <c:pt idx="476">
                  <c:v>41969</c:v>
                </c:pt>
                <c:pt idx="477">
                  <c:v>41970</c:v>
                </c:pt>
                <c:pt idx="478">
                  <c:v>41971</c:v>
                </c:pt>
                <c:pt idx="479">
                  <c:v>41974</c:v>
                </c:pt>
                <c:pt idx="480">
                  <c:v>41975</c:v>
                </c:pt>
                <c:pt idx="481">
                  <c:v>41976</c:v>
                </c:pt>
                <c:pt idx="482">
                  <c:v>41977</c:v>
                </c:pt>
                <c:pt idx="483">
                  <c:v>41978</c:v>
                </c:pt>
                <c:pt idx="484">
                  <c:v>41981</c:v>
                </c:pt>
                <c:pt idx="485">
                  <c:v>41982</c:v>
                </c:pt>
                <c:pt idx="486">
                  <c:v>41983</c:v>
                </c:pt>
                <c:pt idx="487">
                  <c:v>41984</c:v>
                </c:pt>
                <c:pt idx="488">
                  <c:v>41985</c:v>
                </c:pt>
                <c:pt idx="489">
                  <c:v>41988</c:v>
                </c:pt>
                <c:pt idx="490">
                  <c:v>41989</c:v>
                </c:pt>
                <c:pt idx="491">
                  <c:v>41990</c:v>
                </c:pt>
                <c:pt idx="492">
                  <c:v>41991</c:v>
                </c:pt>
                <c:pt idx="493">
                  <c:v>41992</c:v>
                </c:pt>
                <c:pt idx="494">
                  <c:v>41995</c:v>
                </c:pt>
                <c:pt idx="495">
                  <c:v>41996</c:v>
                </c:pt>
                <c:pt idx="496">
                  <c:v>41997</c:v>
                </c:pt>
                <c:pt idx="497">
                  <c:v>41998</c:v>
                </c:pt>
                <c:pt idx="498">
                  <c:v>41999</c:v>
                </c:pt>
                <c:pt idx="499">
                  <c:v>42002</c:v>
                </c:pt>
                <c:pt idx="500">
                  <c:v>42003</c:v>
                </c:pt>
                <c:pt idx="501">
                  <c:v>42004</c:v>
                </c:pt>
                <c:pt idx="502">
                  <c:v>42005</c:v>
                </c:pt>
                <c:pt idx="503">
                  <c:v>42006</c:v>
                </c:pt>
                <c:pt idx="504">
                  <c:v>42009</c:v>
                </c:pt>
                <c:pt idx="505">
                  <c:v>42010</c:v>
                </c:pt>
                <c:pt idx="506">
                  <c:v>42011</c:v>
                </c:pt>
                <c:pt idx="507">
                  <c:v>42012</c:v>
                </c:pt>
                <c:pt idx="508">
                  <c:v>42013</c:v>
                </c:pt>
                <c:pt idx="509">
                  <c:v>42016</c:v>
                </c:pt>
                <c:pt idx="510">
                  <c:v>42017</c:v>
                </c:pt>
                <c:pt idx="511">
                  <c:v>42018</c:v>
                </c:pt>
                <c:pt idx="512">
                  <c:v>42019</c:v>
                </c:pt>
                <c:pt idx="513">
                  <c:v>42020</c:v>
                </c:pt>
                <c:pt idx="514">
                  <c:v>42023</c:v>
                </c:pt>
                <c:pt idx="515">
                  <c:v>42024</c:v>
                </c:pt>
                <c:pt idx="516">
                  <c:v>42025</c:v>
                </c:pt>
                <c:pt idx="517">
                  <c:v>42026</c:v>
                </c:pt>
                <c:pt idx="518">
                  <c:v>42027</c:v>
                </c:pt>
                <c:pt idx="519">
                  <c:v>42030</c:v>
                </c:pt>
                <c:pt idx="520">
                  <c:v>42031</c:v>
                </c:pt>
                <c:pt idx="521">
                  <c:v>42032</c:v>
                </c:pt>
                <c:pt idx="522">
                  <c:v>42033</c:v>
                </c:pt>
                <c:pt idx="523">
                  <c:v>42034</c:v>
                </c:pt>
                <c:pt idx="524">
                  <c:v>42037</c:v>
                </c:pt>
                <c:pt idx="525">
                  <c:v>42038</c:v>
                </c:pt>
                <c:pt idx="526">
                  <c:v>42039</c:v>
                </c:pt>
                <c:pt idx="527">
                  <c:v>42040</c:v>
                </c:pt>
                <c:pt idx="528">
                  <c:v>42041</c:v>
                </c:pt>
                <c:pt idx="529">
                  <c:v>42044</c:v>
                </c:pt>
                <c:pt idx="530">
                  <c:v>42045</c:v>
                </c:pt>
                <c:pt idx="531">
                  <c:v>42046</c:v>
                </c:pt>
                <c:pt idx="532">
                  <c:v>42047</c:v>
                </c:pt>
                <c:pt idx="533">
                  <c:v>42048</c:v>
                </c:pt>
                <c:pt idx="534">
                  <c:v>42051</c:v>
                </c:pt>
                <c:pt idx="535">
                  <c:v>42052</c:v>
                </c:pt>
                <c:pt idx="536">
                  <c:v>42053</c:v>
                </c:pt>
                <c:pt idx="537">
                  <c:v>42054</c:v>
                </c:pt>
                <c:pt idx="538">
                  <c:v>42055</c:v>
                </c:pt>
                <c:pt idx="539">
                  <c:v>42058</c:v>
                </c:pt>
                <c:pt idx="540">
                  <c:v>42059</c:v>
                </c:pt>
                <c:pt idx="541">
                  <c:v>42060</c:v>
                </c:pt>
                <c:pt idx="542">
                  <c:v>42061</c:v>
                </c:pt>
                <c:pt idx="543">
                  <c:v>42062</c:v>
                </c:pt>
                <c:pt idx="544">
                  <c:v>42065</c:v>
                </c:pt>
                <c:pt idx="545">
                  <c:v>42066</c:v>
                </c:pt>
                <c:pt idx="546">
                  <c:v>42067</c:v>
                </c:pt>
                <c:pt idx="547">
                  <c:v>42068</c:v>
                </c:pt>
                <c:pt idx="548">
                  <c:v>42069</c:v>
                </c:pt>
                <c:pt idx="549">
                  <c:v>42072</c:v>
                </c:pt>
                <c:pt idx="550">
                  <c:v>42073</c:v>
                </c:pt>
                <c:pt idx="551">
                  <c:v>42074</c:v>
                </c:pt>
                <c:pt idx="552">
                  <c:v>42075</c:v>
                </c:pt>
                <c:pt idx="553">
                  <c:v>42076</c:v>
                </c:pt>
                <c:pt idx="554">
                  <c:v>42079</c:v>
                </c:pt>
                <c:pt idx="555">
                  <c:v>42080</c:v>
                </c:pt>
                <c:pt idx="556">
                  <c:v>42081</c:v>
                </c:pt>
                <c:pt idx="557">
                  <c:v>42082</c:v>
                </c:pt>
                <c:pt idx="558">
                  <c:v>42083</c:v>
                </c:pt>
                <c:pt idx="559">
                  <c:v>42086</c:v>
                </c:pt>
                <c:pt idx="560">
                  <c:v>42087</c:v>
                </c:pt>
                <c:pt idx="561">
                  <c:v>42088</c:v>
                </c:pt>
                <c:pt idx="562">
                  <c:v>42089</c:v>
                </c:pt>
                <c:pt idx="563">
                  <c:v>42090</c:v>
                </c:pt>
                <c:pt idx="564">
                  <c:v>42093</c:v>
                </c:pt>
                <c:pt idx="565">
                  <c:v>42094</c:v>
                </c:pt>
                <c:pt idx="566">
                  <c:v>42095</c:v>
                </c:pt>
                <c:pt idx="567">
                  <c:v>42096</c:v>
                </c:pt>
                <c:pt idx="568">
                  <c:v>42097</c:v>
                </c:pt>
                <c:pt idx="569">
                  <c:v>42100</c:v>
                </c:pt>
                <c:pt idx="570">
                  <c:v>42101</c:v>
                </c:pt>
                <c:pt idx="571">
                  <c:v>42102</c:v>
                </c:pt>
                <c:pt idx="572">
                  <c:v>42103</c:v>
                </c:pt>
                <c:pt idx="573">
                  <c:v>42104</c:v>
                </c:pt>
                <c:pt idx="574">
                  <c:v>42107</c:v>
                </c:pt>
                <c:pt idx="575">
                  <c:v>42108</c:v>
                </c:pt>
                <c:pt idx="576">
                  <c:v>42109</c:v>
                </c:pt>
                <c:pt idx="577">
                  <c:v>42110</c:v>
                </c:pt>
                <c:pt idx="578">
                  <c:v>42111</c:v>
                </c:pt>
                <c:pt idx="579">
                  <c:v>42114</c:v>
                </c:pt>
                <c:pt idx="580">
                  <c:v>42115</c:v>
                </c:pt>
                <c:pt idx="581">
                  <c:v>42116</c:v>
                </c:pt>
                <c:pt idx="582">
                  <c:v>42117</c:v>
                </c:pt>
                <c:pt idx="583">
                  <c:v>42118</c:v>
                </c:pt>
                <c:pt idx="584">
                  <c:v>42121</c:v>
                </c:pt>
                <c:pt idx="585">
                  <c:v>42122</c:v>
                </c:pt>
                <c:pt idx="586">
                  <c:v>42123</c:v>
                </c:pt>
                <c:pt idx="587">
                  <c:v>42124</c:v>
                </c:pt>
                <c:pt idx="588">
                  <c:v>42125</c:v>
                </c:pt>
                <c:pt idx="589">
                  <c:v>42128</c:v>
                </c:pt>
                <c:pt idx="590">
                  <c:v>42129</c:v>
                </c:pt>
                <c:pt idx="591">
                  <c:v>42130</c:v>
                </c:pt>
                <c:pt idx="592">
                  <c:v>42131</c:v>
                </c:pt>
                <c:pt idx="593">
                  <c:v>42132</c:v>
                </c:pt>
                <c:pt idx="594">
                  <c:v>42135</c:v>
                </c:pt>
                <c:pt idx="595">
                  <c:v>42136</c:v>
                </c:pt>
                <c:pt idx="596">
                  <c:v>42137</c:v>
                </c:pt>
                <c:pt idx="597">
                  <c:v>42138</c:v>
                </c:pt>
                <c:pt idx="598">
                  <c:v>42139</c:v>
                </c:pt>
                <c:pt idx="599">
                  <c:v>42142</c:v>
                </c:pt>
                <c:pt idx="600">
                  <c:v>42143</c:v>
                </c:pt>
                <c:pt idx="601">
                  <c:v>42144</c:v>
                </c:pt>
                <c:pt idx="602">
                  <c:v>42145</c:v>
                </c:pt>
                <c:pt idx="603">
                  <c:v>42146</c:v>
                </c:pt>
                <c:pt idx="604">
                  <c:v>42149</c:v>
                </c:pt>
                <c:pt idx="605">
                  <c:v>42150</c:v>
                </c:pt>
                <c:pt idx="606">
                  <c:v>42151</c:v>
                </c:pt>
                <c:pt idx="607">
                  <c:v>42152</c:v>
                </c:pt>
                <c:pt idx="608">
                  <c:v>42153</c:v>
                </c:pt>
                <c:pt idx="609">
                  <c:v>42156</c:v>
                </c:pt>
                <c:pt idx="610">
                  <c:v>42157</c:v>
                </c:pt>
                <c:pt idx="611">
                  <c:v>42158</c:v>
                </c:pt>
                <c:pt idx="612">
                  <c:v>42159</c:v>
                </c:pt>
                <c:pt idx="613">
                  <c:v>42160</c:v>
                </c:pt>
                <c:pt idx="614">
                  <c:v>42163</c:v>
                </c:pt>
                <c:pt idx="615">
                  <c:v>42164</c:v>
                </c:pt>
                <c:pt idx="616">
                  <c:v>42165</c:v>
                </c:pt>
                <c:pt idx="617">
                  <c:v>42166</c:v>
                </c:pt>
                <c:pt idx="618">
                  <c:v>42167</c:v>
                </c:pt>
                <c:pt idx="619">
                  <c:v>42170</c:v>
                </c:pt>
                <c:pt idx="620">
                  <c:v>42171</c:v>
                </c:pt>
                <c:pt idx="621">
                  <c:v>42172</c:v>
                </c:pt>
                <c:pt idx="622">
                  <c:v>42173</c:v>
                </c:pt>
                <c:pt idx="623">
                  <c:v>42174</c:v>
                </c:pt>
                <c:pt idx="624">
                  <c:v>42177</c:v>
                </c:pt>
                <c:pt idx="625">
                  <c:v>42178</c:v>
                </c:pt>
                <c:pt idx="626">
                  <c:v>42179</c:v>
                </c:pt>
                <c:pt idx="627">
                  <c:v>42180</c:v>
                </c:pt>
                <c:pt idx="628">
                  <c:v>42181</c:v>
                </c:pt>
                <c:pt idx="629">
                  <c:v>42184</c:v>
                </c:pt>
                <c:pt idx="630">
                  <c:v>42185</c:v>
                </c:pt>
                <c:pt idx="631">
                  <c:v>42186</c:v>
                </c:pt>
                <c:pt idx="632">
                  <c:v>42187</c:v>
                </c:pt>
                <c:pt idx="633">
                  <c:v>42188</c:v>
                </c:pt>
                <c:pt idx="634">
                  <c:v>42191</c:v>
                </c:pt>
                <c:pt idx="635">
                  <c:v>42192</c:v>
                </c:pt>
                <c:pt idx="636">
                  <c:v>42193</c:v>
                </c:pt>
                <c:pt idx="637">
                  <c:v>42194</c:v>
                </c:pt>
                <c:pt idx="638">
                  <c:v>42195</c:v>
                </c:pt>
                <c:pt idx="639">
                  <c:v>42198</c:v>
                </c:pt>
                <c:pt idx="640">
                  <c:v>42199</c:v>
                </c:pt>
                <c:pt idx="641">
                  <c:v>42200</c:v>
                </c:pt>
                <c:pt idx="642">
                  <c:v>42201</c:v>
                </c:pt>
                <c:pt idx="643">
                  <c:v>42202</c:v>
                </c:pt>
                <c:pt idx="644">
                  <c:v>42205</c:v>
                </c:pt>
                <c:pt idx="645">
                  <c:v>42206</c:v>
                </c:pt>
                <c:pt idx="646">
                  <c:v>42207</c:v>
                </c:pt>
                <c:pt idx="647">
                  <c:v>42208</c:v>
                </c:pt>
                <c:pt idx="648">
                  <c:v>42209</c:v>
                </c:pt>
                <c:pt idx="649">
                  <c:v>42212</c:v>
                </c:pt>
                <c:pt idx="650">
                  <c:v>42213</c:v>
                </c:pt>
                <c:pt idx="651">
                  <c:v>42214</c:v>
                </c:pt>
                <c:pt idx="652">
                  <c:v>42215</c:v>
                </c:pt>
                <c:pt idx="653">
                  <c:v>42216</c:v>
                </c:pt>
                <c:pt idx="654">
                  <c:v>42219</c:v>
                </c:pt>
                <c:pt idx="655">
                  <c:v>42220</c:v>
                </c:pt>
                <c:pt idx="656">
                  <c:v>42221</c:v>
                </c:pt>
                <c:pt idx="657">
                  <c:v>42222</c:v>
                </c:pt>
                <c:pt idx="658">
                  <c:v>42223</c:v>
                </c:pt>
                <c:pt idx="659">
                  <c:v>42226</c:v>
                </c:pt>
                <c:pt idx="660">
                  <c:v>42227</c:v>
                </c:pt>
                <c:pt idx="661">
                  <c:v>42228</c:v>
                </c:pt>
                <c:pt idx="662">
                  <c:v>42229</c:v>
                </c:pt>
                <c:pt idx="663">
                  <c:v>42230</c:v>
                </c:pt>
                <c:pt idx="664">
                  <c:v>42233</c:v>
                </c:pt>
                <c:pt idx="665">
                  <c:v>42234</c:v>
                </c:pt>
                <c:pt idx="666">
                  <c:v>42235</c:v>
                </c:pt>
                <c:pt idx="667">
                  <c:v>42236</c:v>
                </c:pt>
                <c:pt idx="668">
                  <c:v>42237</c:v>
                </c:pt>
                <c:pt idx="669">
                  <c:v>42240</c:v>
                </c:pt>
                <c:pt idx="670">
                  <c:v>42241</c:v>
                </c:pt>
                <c:pt idx="671">
                  <c:v>42242</c:v>
                </c:pt>
                <c:pt idx="672">
                  <c:v>42243</c:v>
                </c:pt>
                <c:pt idx="673">
                  <c:v>42244</c:v>
                </c:pt>
                <c:pt idx="674">
                  <c:v>42247</c:v>
                </c:pt>
                <c:pt idx="675">
                  <c:v>42248</c:v>
                </c:pt>
                <c:pt idx="676">
                  <c:v>42249</c:v>
                </c:pt>
                <c:pt idx="677">
                  <c:v>42250</c:v>
                </c:pt>
                <c:pt idx="678">
                  <c:v>42251</c:v>
                </c:pt>
                <c:pt idx="679">
                  <c:v>42254</c:v>
                </c:pt>
                <c:pt idx="680">
                  <c:v>42255</c:v>
                </c:pt>
                <c:pt idx="681">
                  <c:v>42256</c:v>
                </c:pt>
                <c:pt idx="682">
                  <c:v>42257</c:v>
                </c:pt>
                <c:pt idx="683">
                  <c:v>42258</c:v>
                </c:pt>
                <c:pt idx="684">
                  <c:v>42261</c:v>
                </c:pt>
                <c:pt idx="685">
                  <c:v>42262</c:v>
                </c:pt>
                <c:pt idx="686">
                  <c:v>42263</c:v>
                </c:pt>
                <c:pt idx="687">
                  <c:v>42264</c:v>
                </c:pt>
                <c:pt idx="688">
                  <c:v>42265</c:v>
                </c:pt>
                <c:pt idx="689">
                  <c:v>42268</c:v>
                </c:pt>
                <c:pt idx="690">
                  <c:v>42269</c:v>
                </c:pt>
                <c:pt idx="691">
                  <c:v>42270</c:v>
                </c:pt>
                <c:pt idx="692">
                  <c:v>42271</c:v>
                </c:pt>
                <c:pt idx="693">
                  <c:v>42272</c:v>
                </c:pt>
                <c:pt idx="694">
                  <c:v>42275</c:v>
                </c:pt>
                <c:pt idx="695">
                  <c:v>42276</c:v>
                </c:pt>
                <c:pt idx="696">
                  <c:v>42277</c:v>
                </c:pt>
                <c:pt idx="697">
                  <c:v>42278</c:v>
                </c:pt>
                <c:pt idx="698">
                  <c:v>42279</c:v>
                </c:pt>
                <c:pt idx="699">
                  <c:v>42282</c:v>
                </c:pt>
                <c:pt idx="700">
                  <c:v>42283</c:v>
                </c:pt>
                <c:pt idx="701">
                  <c:v>42284</c:v>
                </c:pt>
                <c:pt idx="702">
                  <c:v>42285</c:v>
                </c:pt>
                <c:pt idx="703">
                  <c:v>42286</c:v>
                </c:pt>
                <c:pt idx="704">
                  <c:v>42289</c:v>
                </c:pt>
                <c:pt idx="705">
                  <c:v>42290</c:v>
                </c:pt>
                <c:pt idx="706">
                  <c:v>42291</c:v>
                </c:pt>
                <c:pt idx="707">
                  <c:v>42292</c:v>
                </c:pt>
                <c:pt idx="708">
                  <c:v>42293</c:v>
                </c:pt>
                <c:pt idx="709">
                  <c:v>42296</c:v>
                </c:pt>
                <c:pt idx="710">
                  <c:v>42297</c:v>
                </c:pt>
                <c:pt idx="711">
                  <c:v>42298</c:v>
                </c:pt>
                <c:pt idx="712">
                  <c:v>42299</c:v>
                </c:pt>
                <c:pt idx="713">
                  <c:v>42300</c:v>
                </c:pt>
                <c:pt idx="714">
                  <c:v>42303</c:v>
                </c:pt>
                <c:pt idx="715">
                  <c:v>42304</c:v>
                </c:pt>
                <c:pt idx="716">
                  <c:v>42305</c:v>
                </c:pt>
                <c:pt idx="717">
                  <c:v>42306</c:v>
                </c:pt>
                <c:pt idx="718">
                  <c:v>42307</c:v>
                </c:pt>
                <c:pt idx="719">
                  <c:v>42310</c:v>
                </c:pt>
                <c:pt idx="720">
                  <c:v>42311</c:v>
                </c:pt>
                <c:pt idx="721">
                  <c:v>42312</c:v>
                </c:pt>
                <c:pt idx="722">
                  <c:v>42313</c:v>
                </c:pt>
                <c:pt idx="723">
                  <c:v>42314</c:v>
                </c:pt>
                <c:pt idx="724">
                  <c:v>42317</c:v>
                </c:pt>
                <c:pt idx="725">
                  <c:v>42318</c:v>
                </c:pt>
                <c:pt idx="726">
                  <c:v>42319</c:v>
                </c:pt>
                <c:pt idx="727">
                  <c:v>42320</c:v>
                </c:pt>
                <c:pt idx="728">
                  <c:v>42321</c:v>
                </c:pt>
                <c:pt idx="729">
                  <c:v>42324</c:v>
                </c:pt>
                <c:pt idx="730">
                  <c:v>42325</c:v>
                </c:pt>
                <c:pt idx="731">
                  <c:v>42326</c:v>
                </c:pt>
                <c:pt idx="732">
                  <c:v>42327</c:v>
                </c:pt>
                <c:pt idx="733">
                  <c:v>42328</c:v>
                </c:pt>
                <c:pt idx="734">
                  <c:v>42331</c:v>
                </c:pt>
                <c:pt idx="735">
                  <c:v>42332</c:v>
                </c:pt>
                <c:pt idx="736">
                  <c:v>42333</c:v>
                </c:pt>
                <c:pt idx="737">
                  <c:v>42334</c:v>
                </c:pt>
                <c:pt idx="738">
                  <c:v>42335</c:v>
                </c:pt>
                <c:pt idx="739">
                  <c:v>42338</c:v>
                </c:pt>
                <c:pt idx="740">
                  <c:v>42339</c:v>
                </c:pt>
                <c:pt idx="741">
                  <c:v>42340</c:v>
                </c:pt>
                <c:pt idx="742">
                  <c:v>42341</c:v>
                </c:pt>
                <c:pt idx="743">
                  <c:v>42342</c:v>
                </c:pt>
                <c:pt idx="744">
                  <c:v>42345</c:v>
                </c:pt>
                <c:pt idx="745">
                  <c:v>42346</c:v>
                </c:pt>
                <c:pt idx="746">
                  <c:v>42347</c:v>
                </c:pt>
                <c:pt idx="747">
                  <c:v>42348</c:v>
                </c:pt>
                <c:pt idx="748">
                  <c:v>42349</c:v>
                </c:pt>
                <c:pt idx="749">
                  <c:v>42352</c:v>
                </c:pt>
                <c:pt idx="750">
                  <c:v>42353</c:v>
                </c:pt>
                <c:pt idx="751">
                  <c:v>42354</c:v>
                </c:pt>
                <c:pt idx="752">
                  <c:v>42355</c:v>
                </c:pt>
                <c:pt idx="753">
                  <c:v>42356</c:v>
                </c:pt>
                <c:pt idx="754">
                  <c:v>42359</c:v>
                </c:pt>
                <c:pt idx="755">
                  <c:v>42360</c:v>
                </c:pt>
                <c:pt idx="756">
                  <c:v>42361</c:v>
                </c:pt>
                <c:pt idx="757">
                  <c:v>42362</c:v>
                </c:pt>
                <c:pt idx="758">
                  <c:v>42363</c:v>
                </c:pt>
                <c:pt idx="759">
                  <c:v>42366</c:v>
                </c:pt>
                <c:pt idx="760">
                  <c:v>42367</c:v>
                </c:pt>
                <c:pt idx="761">
                  <c:v>42368</c:v>
                </c:pt>
                <c:pt idx="762">
                  <c:v>42369</c:v>
                </c:pt>
                <c:pt idx="763">
                  <c:v>42370</c:v>
                </c:pt>
                <c:pt idx="764">
                  <c:v>42373</c:v>
                </c:pt>
                <c:pt idx="765">
                  <c:v>42374</c:v>
                </c:pt>
                <c:pt idx="766">
                  <c:v>42375</c:v>
                </c:pt>
                <c:pt idx="767">
                  <c:v>42376</c:v>
                </c:pt>
                <c:pt idx="768">
                  <c:v>42377</c:v>
                </c:pt>
                <c:pt idx="769">
                  <c:v>42380</c:v>
                </c:pt>
                <c:pt idx="770">
                  <c:v>42381</c:v>
                </c:pt>
                <c:pt idx="771">
                  <c:v>42382</c:v>
                </c:pt>
                <c:pt idx="772">
                  <c:v>42383</c:v>
                </c:pt>
                <c:pt idx="773">
                  <c:v>42384</c:v>
                </c:pt>
                <c:pt idx="774">
                  <c:v>42387</c:v>
                </c:pt>
                <c:pt idx="775">
                  <c:v>42388</c:v>
                </c:pt>
                <c:pt idx="776">
                  <c:v>42389</c:v>
                </c:pt>
                <c:pt idx="777">
                  <c:v>42390</c:v>
                </c:pt>
                <c:pt idx="778">
                  <c:v>42391</c:v>
                </c:pt>
                <c:pt idx="779">
                  <c:v>42394</c:v>
                </c:pt>
                <c:pt idx="780">
                  <c:v>42395</c:v>
                </c:pt>
                <c:pt idx="781">
                  <c:v>42396</c:v>
                </c:pt>
                <c:pt idx="782">
                  <c:v>42397</c:v>
                </c:pt>
                <c:pt idx="783">
                  <c:v>42398</c:v>
                </c:pt>
                <c:pt idx="784">
                  <c:v>42401</c:v>
                </c:pt>
                <c:pt idx="785">
                  <c:v>42402</c:v>
                </c:pt>
                <c:pt idx="786">
                  <c:v>42403</c:v>
                </c:pt>
                <c:pt idx="787">
                  <c:v>42404</c:v>
                </c:pt>
                <c:pt idx="788">
                  <c:v>42405</c:v>
                </c:pt>
                <c:pt idx="789">
                  <c:v>42408</c:v>
                </c:pt>
                <c:pt idx="790">
                  <c:v>42409</c:v>
                </c:pt>
                <c:pt idx="791">
                  <c:v>42410</c:v>
                </c:pt>
                <c:pt idx="792">
                  <c:v>42411</c:v>
                </c:pt>
                <c:pt idx="793">
                  <c:v>42412</c:v>
                </c:pt>
                <c:pt idx="794">
                  <c:v>42415</c:v>
                </c:pt>
                <c:pt idx="795">
                  <c:v>42416</c:v>
                </c:pt>
                <c:pt idx="796">
                  <c:v>42417</c:v>
                </c:pt>
                <c:pt idx="797">
                  <c:v>42418</c:v>
                </c:pt>
                <c:pt idx="798">
                  <c:v>42419</c:v>
                </c:pt>
                <c:pt idx="799">
                  <c:v>42422</c:v>
                </c:pt>
                <c:pt idx="800">
                  <c:v>42423</c:v>
                </c:pt>
                <c:pt idx="801">
                  <c:v>42424</c:v>
                </c:pt>
                <c:pt idx="802">
                  <c:v>42425</c:v>
                </c:pt>
                <c:pt idx="803">
                  <c:v>42426</c:v>
                </c:pt>
                <c:pt idx="804">
                  <c:v>42429</c:v>
                </c:pt>
                <c:pt idx="805">
                  <c:v>42430</c:v>
                </c:pt>
                <c:pt idx="806">
                  <c:v>42431</c:v>
                </c:pt>
                <c:pt idx="807">
                  <c:v>42432</c:v>
                </c:pt>
                <c:pt idx="808">
                  <c:v>42433</c:v>
                </c:pt>
                <c:pt idx="809">
                  <c:v>42436</c:v>
                </c:pt>
                <c:pt idx="810">
                  <c:v>42437</c:v>
                </c:pt>
                <c:pt idx="811">
                  <c:v>42438</c:v>
                </c:pt>
                <c:pt idx="812">
                  <c:v>42439</c:v>
                </c:pt>
                <c:pt idx="813">
                  <c:v>42440</c:v>
                </c:pt>
                <c:pt idx="814">
                  <c:v>42443</c:v>
                </c:pt>
                <c:pt idx="815">
                  <c:v>42444</c:v>
                </c:pt>
                <c:pt idx="816">
                  <c:v>42445</c:v>
                </c:pt>
                <c:pt idx="817">
                  <c:v>42446</c:v>
                </c:pt>
                <c:pt idx="818">
                  <c:v>42447</c:v>
                </c:pt>
                <c:pt idx="819">
                  <c:v>42450</c:v>
                </c:pt>
                <c:pt idx="820">
                  <c:v>42451</c:v>
                </c:pt>
                <c:pt idx="821">
                  <c:v>42452</c:v>
                </c:pt>
                <c:pt idx="822">
                  <c:v>42453</c:v>
                </c:pt>
                <c:pt idx="823">
                  <c:v>42454</c:v>
                </c:pt>
                <c:pt idx="824">
                  <c:v>42457</c:v>
                </c:pt>
                <c:pt idx="825">
                  <c:v>42458</c:v>
                </c:pt>
                <c:pt idx="826">
                  <c:v>42459</c:v>
                </c:pt>
                <c:pt idx="827">
                  <c:v>42460</c:v>
                </c:pt>
                <c:pt idx="828">
                  <c:v>42461</c:v>
                </c:pt>
                <c:pt idx="829">
                  <c:v>42464</c:v>
                </c:pt>
                <c:pt idx="830">
                  <c:v>42465</c:v>
                </c:pt>
                <c:pt idx="831">
                  <c:v>42466</c:v>
                </c:pt>
                <c:pt idx="832">
                  <c:v>42467</c:v>
                </c:pt>
                <c:pt idx="833">
                  <c:v>42468</c:v>
                </c:pt>
                <c:pt idx="834">
                  <c:v>42471</c:v>
                </c:pt>
                <c:pt idx="835">
                  <c:v>42472</c:v>
                </c:pt>
                <c:pt idx="836">
                  <c:v>42473</c:v>
                </c:pt>
                <c:pt idx="837">
                  <c:v>42474</c:v>
                </c:pt>
                <c:pt idx="838">
                  <c:v>42475</c:v>
                </c:pt>
                <c:pt idx="839">
                  <c:v>42478</c:v>
                </c:pt>
                <c:pt idx="840">
                  <c:v>42479</c:v>
                </c:pt>
                <c:pt idx="841">
                  <c:v>42480</c:v>
                </c:pt>
                <c:pt idx="842">
                  <c:v>42481</c:v>
                </c:pt>
                <c:pt idx="843">
                  <c:v>42482</c:v>
                </c:pt>
                <c:pt idx="844">
                  <c:v>42485</c:v>
                </c:pt>
                <c:pt idx="845">
                  <c:v>42486</c:v>
                </c:pt>
                <c:pt idx="846">
                  <c:v>42487</c:v>
                </c:pt>
                <c:pt idx="847">
                  <c:v>42488</c:v>
                </c:pt>
                <c:pt idx="848">
                  <c:v>42489</c:v>
                </c:pt>
                <c:pt idx="849">
                  <c:v>42492</c:v>
                </c:pt>
                <c:pt idx="850">
                  <c:v>42493</c:v>
                </c:pt>
                <c:pt idx="851">
                  <c:v>42494</c:v>
                </c:pt>
                <c:pt idx="852">
                  <c:v>42495</c:v>
                </c:pt>
                <c:pt idx="853">
                  <c:v>42496</c:v>
                </c:pt>
                <c:pt idx="854">
                  <c:v>42499</c:v>
                </c:pt>
                <c:pt idx="855">
                  <c:v>42500</c:v>
                </c:pt>
                <c:pt idx="856">
                  <c:v>42501</c:v>
                </c:pt>
                <c:pt idx="857">
                  <c:v>42502</c:v>
                </c:pt>
                <c:pt idx="858">
                  <c:v>42503</c:v>
                </c:pt>
                <c:pt idx="859">
                  <c:v>42506</c:v>
                </c:pt>
                <c:pt idx="860">
                  <c:v>42507</c:v>
                </c:pt>
                <c:pt idx="861">
                  <c:v>42508</c:v>
                </c:pt>
                <c:pt idx="862">
                  <c:v>42509</c:v>
                </c:pt>
                <c:pt idx="863">
                  <c:v>42510</c:v>
                </c:pt>
                <c:pt idx="864">
                  <c:v>42513</c:v>
                </c:pt>
                <c:pt idx="865">
                  <c:v>42514</c:v>
                </c:pt>
                <c:pt idx="866">
                  <c:v>42515</c:v>
                </c:pt>
                <c:pt idx="867">
                  <c:v>42516</c:v>
                </c:pt>
                <c:pt idx="868">
                  <c:v>42517</c:v>
                </c:pt>
                <c:pt idx="869">
                  <c:v>42520</c:v>
                </c:pt>
                <c:pt idx="870">
                  <c:v>42521</c:v>
                </c:pt>
                <c:pt idx="871">
                  <c:v>42522</c:v>
                </c:pt>
                <c:pt idx="872">
                  <c:v>42523</c:v>
                </c:pt>
                <c:pt idx="873">
                  <c:v>42524</c:v>
                </c:pt>
                <c:pt idx="874">
                  <c:v>42527</c:v>
                </c:pt>
                <c:pt idx="875">
                  <c:v>42528</c:v>
                </c:pt>
                <c:pt idx="876">
                  <c:v>42529</c:v>
                </c:pt>
                <c:pt idx="877">
                  <c:v>42530</c:v>
                </c:pt>
                <c:pt idx="878">
                  <c:v>42531</c:v>
                </c:pt>
                <c:pt idx="879">
                  <c:v>42534</c:v>
                </c:pt>
                <c:pt idx="880">
                  <c:v>42535</c:v>
                </c:pt>
                <c:pt idx="881">
                  <c:v>42536</c:v>
                </c:pt>
                <c:pt idx="882">
                  <c:v>42537</c:v>
                </c:pt>
                <c:pt idx="883">
                  <c:v>42538</c:v>
                </c:pt>
                <c:pt idx="884">
                  <c:v>42541</c:v>
                </c:pt>
                <c:pt idx="885">
                  <c:v>42542</c:v>
                </c:pt>
                <c:pt idx="886">
                  <c:v>42543</c:v>
                </c:pt>
                <c:pt idx="887">
                  <c:v>42544</c:v>
                </c:pt>
                <c:pt idx="888">
                  <c:v>42545</c:v>
                </c:pt>
                <c:pt idx="889">
                  <c:v>42548</c:v>
                </c:pt>
                <c:pt idx="890">
                  <c:v>42549</c:v>
                </c:pt>
                <c:pt idx="891">
                  <c:v>42550</c:v>
                </c:pt>
                <c:pt idx="892">
                  <c:v>42551</c:v>
                </c:pt>
                <c:pt idx="893">
                  <c:v>42552</c:v>
                </c:pt>
                <c:pt idx="894">
                  <c:v>42555</c:v>
                </c:pt>
                <c:pt idx="895">
                  <c:v>42556</c:v>
                </c:pt>
                <c:pt idx="896">
                  <c:v>42557</c:v>
                </c:pt>
                <c:pt idx="897">
                  <c:v>42558</c:v>
                </c:pt>
                <c:pt idx="898">
                  <c:v>42559</c:v>
                </c:pt>
                <c:pt idx="899">
                  <c:v>42562</c:v>
                </c:pt>
                <c:pt idx="900">
                  <c:v>42563</c:v>
                </c:pt>
                <c:pt idx="901">
                  <c:v>42564</c:v>
                </c:pt>
                <c:pt idx="902">
                  <c:v>42565</c:v>
                </c:pt>
                <c:pt idx="903">
                  <c:v>42566</c:v>
                </c:pt>
                <c:pt idx="904">
                  <c:v>42569</c:v>
                </c:pt>
                <c:pt idx="905">
                  <c:v>42570</c:v>
                </c:pt>
                <c:pt idx="906">
                  <c:v>42571</c:v>
                </c:pt>
                <c:pt idx="907">
                  <c:v>42572</c:v>
                </c:pt>
                <c:pt idx="908">
                  <c:v>42573</c:v>
                </c:pt>
                <c:pt idx="909">
                  <c:v>42576</c:v>
                </c:pt>
                <c:pt idx="910">
                  <c:v>42577</c:v>
                </c:pt>
                <c:pt idx="911">
                  <c:v>42578</c:v>
                </c:pt>
                <c:pt idx="912">
                  <c:v>42579</c:v>
                </c:pt>
                <c:pt idx="913">
                  <c:v>42580</c:v>
                </c:pt>
                <c:pt idx="914">
                  <c:v>42583</c:v>
                </c:pt>
                <c:pt idx="915">
                  <c:v>42584</c:v>
                </c:pt>
                <c:pt idx="916">
                  <c:v>42585</c:v>
                </c:pt>
                <c:pt idx="917">
                  <c:v>42586</c:v>
                </c:pt>
                <c:pt idx="918">
                  <c:v>42587</c:v>
                </c:pt>
                <c:pt idx="919">
                  <c:v>42590</c:v>
                </c:pt>
                <c:pt idx="920">
                  <c:v>42591</c:v>
                </c:pt>
                <c:pt idx="921">
                  <c:v>42592</c:v>
                </c:pt>
                <c:pt idx="922">
                  <c:v>42593</c:v>
                </c:pt>
                <c:pt idx="923">
                  <c:v>42594</c:v>
                </c:pt>
                <c:pt idx="924">
                  <c:v>42597</c:v>
                </c:pt>
                <c:pt idx="925">
                  <c:v>42598</c:v>
                </c:pt>
                <c:pt idx="926">
                  <c:v>42599</c:v>
                </c:pt>
                <c:pt idx="927">
                  <c:v>42600</c:v>
                </c:pt>
                <c:pt idx="928">
                  <c:v>42601</c:v>
                </c:pt>
                <c:pt idx="929">
                  <c:v>42604</c:v>
                </c:pt>
                <c:pt idx="930">
                  <c:v>42605</c:v>
                </c:pt>
                <c:pt idx="931">
                  <c:v>42606</c:v>
                </c:pt>
                <c:pt idx="932">
                  <c:v>42607</c:v>
                </c:pt>
                <c:pt idx="933">
                  <c:v>42608</c:v>
                </c:pt>
                <c:pt idx="934">
                  <c:v>42611</c:v>
                </c:pt>
                <c:pt idx="935">
                  <c:v>42612</c:v>
                </c:pt>
                <c:pt idx="936">
                  <c:v>42613</c:v>
                </c:pt>
                <c:pt idx="937">
                  <c:v>42614</c:v>
                </c:pt>
                <c:pt idx="938">
                  <c:v>42615</c:v>
                </c:pt>
                <c:pt idx="939">
                  <c:v>42618</c:v>
                </c:pt>
                <c:pt idx="940">
                  <c:v>42619</c:v>
                </c:pt>
                <c:pt idx="941">
                  <c:v>42620</c:v>
                </c:pt>
                <c:pt idx="942">
                  <c:v>42621</c:v>
                </c:pt>
                <c:pt idx="943">
                  <c:v>42622</c:v>
                </c:pt>
                <c:pt idx="944">
                  <c:v>42625</c:v>
                </c:pt>
                <c:pt idx="945">
                  <c:v>42626</c:v>
                </c:pt>
                <c:pt idx="946">
                  <c:v>42627</c:v>
                </c:pt>
                <c:pt idx="947">
                  <c:v>42628</c:v>
                </c:pt>
                <c:pt idx="948">
                  <c:v>42629</c:v>
                </c:pt>
                <c:pt idx="949">
                  <c:v>42632</c:v>
                </c:pt>
                <c:pt idx="950">
                  <c:v>42633</c:v>
                </c:pt>
                <c:pt idx="951">
                  <c:v>42634</c:v>
                </c:pt>
                <c:pt idx="952">
                  <c:v>42635</c:v>
                </c:pt>
                <c:pt idx="953">
                  <c:v>42636</c:v>
                </c:pt>
                <c:pt idx="954">
                  <c:v>42639</c:v>
                </c:pt>
                <c:pt idx="955">
                  <c:v>42640</c:v>
                </c:pt>
                <c:pt idx="956">
                  <c:v>42641</c:v>
                </c:pt>
                <c:pt idx="957">
                  <c:v>42642</c:v>
                </c:pt>
                <c:pt idx="958">
                  <c:v>42643</c:v>
                </c:pt>
                <c:pt idx="959">
                  <c:v>42646</c:v>
                </c:pt>
                <c:pt idx="960">
                  <c:v>42647</c:v>
                </c:pt>
                <c:pt idx="961">
                  <c:v>42648</c:v>
                </c:pt>
                <c:pt idx="962">
                  <c:v>42649</c:v>
                </c:pt>
                <c:pt idx="963">
                  <c:v>42650</c:v>
                </c:pt>
                <c:pt idx="964">
                  <c:v>42653</c:v>
                </c:pt>
                <c:pt idx="965">
                  <c:v>42654</c:v>
                </c:pt>
                <c:pt idx="966">
                  <c:v>42655</c:v>
                </c:pt>
                <c:pt idx="967">
                  <c:v>42656</c:v>
                </c:pt>
                <c:pt idx="968">
                  <c:v>42657</c:v>
                </c:pt>
                <c:pt idx="969">
                  <c:v>42660</c:v>
                </c:pt>
                <c:pt idx="970">
                  <c:v>42661</c:v>
                </c:pt>
                <c:pt idx="971">
                  <c:v>42662</c:v>
                </c:pt>
                <c:pt idx="972">
                  <c:v>42663</c:v>
                </c:pt>
                <c:pt idx="973">
                  <c:v>42664</c:v>
                </c:pt>
                <c:pt idx="974">
                  <c:v>42667</c:v>
                </c:pt>
                <c:pt idx="975">
                  <c:v>42668</c:v>
                </c:pt>
                <c:pt idx="976">
                  <c:v>42669</c:v>
                </c:pt>
                <c:pt idx="977">
                  <c:v>42670</c:v>
                </c:pt>
                <c:pt idx="978">
                  <c:v>42671</c:v>
                </c:pt>
                <c:pt idx="979">
                  <c:v>42674</c:v>
                </c:pt>
                <c:pt idx="980">
                  <c:v>42675</c:v>
                </c:pt>
                <c:pt idx="981">
                  <c:v>42676</c:v>
                </c:pt>
                <c:pt idx="982">
                  <c:v>42677</c:v>
                </c:pt>
                <c:pt idx="983">
                  <c:v>42678</c:v>
                </c:pt>
                <c:pt idx="984">
                  <c:v>42681</c:v>
                </c:pt>
                <c:pt idx="985">
                  <c:v>42682</c:v>
                </c:pt>
                <c:pt idx="986">
                  <c:v>42683</c:v>
                </c:pt>
                <c:pt idx="987">
                  <c:v>42684</c:v>
                </c:pt>
                <c:pt idx="988">
                  <c:v>42685</c:v>
                </c:pt>
                <c:pt idx="989">
                  <c:v>42688</c:v>
                </c:pt>
                <c:pt idx="990">
                  <c:v>42689</c:v>
                </c:pt>
                <c:pt idx="991">
                  <c:v>42690</c:v>
                </c:pt>
                <c:pt idx="992">
                  <c:v>42691</c:v>
                </c:pt>
                <c:pt idx="993">
                  <c:v>42692</c:v>
                </c:pt>
                <c:pt idx="994">
                  <c:v>42695</c:v>
                </c:pt>
                <c:pt idx="995">
                  <c:v>42696</c:v>
                </c:pt>
                <c:pt idx="996">
                  <c:v>42697</c:v>
                </c:pt>
                <c:pt idx="997">
                  <c:v>42698</c:v>
                </c:pt>
                <c:pt idx="998">
                  <c:v>42699</c:v>
                </c:pt>
                <c:pt idx="999">
                  <c:v>42702</c:v>
                </c:pt>
                <c:pt idx="1000">
                  <c:v>42703</c:v>
                </c:pt>
                <c:pt idx="1001">
                  <c:v>42704</c:v>
                </c:pt>
                <c:pt idx="1002">
                  <c:v>42705</c:v>
                </c:pt>
                <c:pt idx="1003">
                  <c:v>42706</c:v>
                </c:pt>
                <c:pt idx="1004">
                  <c:v>42709</c:v>
                </c:pt>
                <c:pt idx="1005">
                  <c:v>42710</c:v>
                </c:pt>
                <c:pt idx="1006">
                  <c:v>42711</c:v>
                </c:pt>
                <c:pt idx="1007">
                  <c:v>42712</c:v>
                </c:pt>
                <c:pt idx="1008">
                  <c:v>42713</c:v>
                </c:pt>
                <c:pt idx="1009">
                  <c:v>42716</c:v>
                </c:pt>
                <c:pt idx="1010">
                  <c:v>42717</c:v>
                </c:pt>
                <c:pt idx="1011">
                  <c:v>42718</c:v>
                </c:pt>
                <c:pt idx="1012">
                  <c:v>42719</c:v>
                </c:pt>
                <c:pt idx="1013">
                  <c:v>42720</c:v>
                </c:pt>
                <c:pt idx="1014">
                  <c:v>42748</c:v>
                </c:pt>
                <c:pt idx="1015">
                  <c:v>42751</c:v>
                </c:pt>
                <c:pt idx="1016">
                  <c:v>42752</c:v>
                </c:pt>
                <c:pt idx="1017">
                  <c:v>42753</c:v>
                </c:pt>
                <c:pt idx="1018">
                  <c:v>42754</c:v>
                </c:pt>
                <c:pt idx="1019">
                  <c:v>42755</c:v>
                </c:pt>
                <c:pt idx="1020">
                  <c:v>42758</c:v>
                </c:pt>
                <c:pt idx="1021">
                  <c:v>42759</c:v>
                </c:pt>
                <c:pt idx="1022">
                  <c:v>42760</c:v>
                </c:pt>
                <c:pt idx="1023">
                  <c:v>42761</c:v>
                </c:pt>
                <c:pt idx="1024">
                  <c:v>42762</c:v>
                </c:pt>
                <c:pt idx="1025">
                  <c:v>42765</c:v>
                </c:pt>
                <c:pt idx="1026">
                  <c:v>42766</c:v>
                </c:pt>
                <c:pt idx="1027">
                  <c:v>42767</c:v>
                </c:pt>
                <c:pt idx="1028">
                  <c:v>42768</c:v>
                </c:pt>
                <c:pt idx="1029">
                  <c:v>42769</c:v>
                </c:pt>
                <c:pt idx="1030">
                  <c:v>42772</c:v>
                </c:pt>
                <c:pt idx="1031">
                  <c:v>42773</c:v>
                </c:pt>
                <c:pt idx="1032">
                  <c:v>42774</c:v>
                </c:pt>
                <c:pt idx="1033">
                  <c:v>42775</c:v>
                </c:pt>
                <c:pt idx="1034">
                  <c:v>42776</c:v>
                </c:pt>
                <c:pt idx="1035">
                  <c:v>42779</c:v>
                </c:pt>
                <c:pt idx="1036">
                  <c:v>42780</c:v>
                </c:pt>
                <c:pt idx="1037">
                  <c:v>42781</c:v>
                </c:pt>
                <c:pt idx="1038">
                  <c:v>42782</c:v>
                </c:pt>
                <c:pt idx="1039">
                  <c:v>42783</c:v>
                </c:pt>
                <c:pt idx="1040">
                  <c:v>42786</c:v>
                </c:pt>
                <c:pt idx="1041">
                  <c:v>42787</c:v>
                </c:pt>
                <c:pt idx="1042">
                  <c:v>42788</c:v>
                </c:pt>
                <c:pt idx="1043">
                  <c:v>42789</c:v>
                </c:pt>
                <c:pt idx="1044">
                  <c:v>42790</c:v>
                </c:pt>
                <c:pt idx="1045">
                  <c:v>42793</c:v>
                </c:pt>
                <c:pt idx="1046">
                  <c:v>42794</c:v>
                </c:pt>
                <c:pt idx="1047">
                  <c:v>42795</c:v>
                </c:pt>
                <c:pt idx="1048">
                  <c:v>42796</c:v>
                </c:pt>
                <c:pt idx="1049">
                  <c:v>42797</c:v>
                </c:pt>
                <c:pt idx="1050">
                  <c:v>42800</c:v>
                </c:pt>
                <c:pt idx="1051">
                  <c:v>42801</c:v>
                </c:pt>
                <c:pt idx="1052">
                  <c:v>42802</c:v>
                </c:pt>
                <c:pt idx="1053">
                  <c:v>42803</c:v>
                </c:pt>
                <c:pt idx="1054">
                  <c:v>42804</c:v>
                </c:pt>
                <c:pt idx="1055">
                  <c:v>42807</c:v>
                </c:pt>
                <c:pt idx="1056">
                  <c:v>42808</c:v>
                </c:pt>
                <c:pt idx="1057">
                  <c:v>42809</c:v>
                </c:pt>
                <c:pt idx="1058">
                  <c:v>42810</c:v>
                </c:pt>
                <c:pt idx="1059">
                  <c:v>42811</c:v>
                </c:pt>
                <c:pt idx="1060">
                  <c:v>42814</c:v>
                </c:pt>
                <c:pt idx="1061">
                  <c:v>42815</c:v>
                </c:pt>
                <c:pt idx="1062">
                  <c:v>42816</c:v>
                </c:pt>
                <c:pt idx="1063">
                  <c:v>42817</c:v>
                </c:pt>
                <c:pt idx="1064">
                  <c:v>42818</c:v>
                </c:pt>
                <c:pt idx="1065">
                  <c:v>42821</c:v>
                </c:pt>
                <c:pt idx="1066">
                  <c:v>42822</c:v>
                </c:pt>
                <c:pt idx="1067">
                  <c:v>42823</c:v>
                </c:pt>
                <c:pt idx="1068">
                  <c:v>42824</c:v>
                </c:pt>
                <c:pt idx="1069">
                  <c:v>42825</c:v>
                </c:pt>
                <c:pt idx="1070">
                  <c:v>42852</c:v>
                </c:pt>
                <c:pt idx="1071">
                  <c:v>42853</c:v>
                </c:pt>
                <c:pt idx="1072">
                  <c:v>42856</c:v>
                </c:pt>
                <c:pt idx="1073">
                  <c:v>42857</c:v>
                </c:pt>
                <c:pt idx="1074">
                  <c:v>42858</c:v>
                </c:pt>
                <c:pt idx="1075">
                  <c:v>42859</c:v>
                </c:pt>
                <c:pt idx="1076">
                  <c:v>42860</c:v>
                </c:pt>
                <c:pt idx="1077">
                  <c:v>42863</c:v>
                </c:pt>
                <c:pt idx="1078">
                  <c:v>42864</c:v>
                </c:pt>
                <c:pt idx="1079">
                  <c:v>42865</c:v>
                </c:pt>
                <c:pt idx="1080">
                  <c:v>42866</c:v>
                </c:pt>
                <c:pt idx="1081">
                  <c:v>42867</c:v>
                </c:pt>
                <c:pt idx="1082">
                  <c:v>42870</c:v>
                </c:pt>
                <c:pt idx="1083">
                  <c:v>42871</c:v>
                </c:pt>
                <c:pt idx="1084">
                  <c:v>42872</c:v>
                </c:pt>
                <c:pt idx="1085">
                  <c:v>42873</c:v>
                </c:pt>
                <c:pt idx="1086">
                  <c:v>42874</c:v>
                </c:pt>
                <c:pt idx="1087">
                  <c:v>42877</c:v>
                </c:pt>
                <c:pt idx="1088">
                  <c:v>42878</c:v>
                </c:pt>
                <c:pt idx="1089">
                  <c:v>42879</c:v>
                </c:pt>
                <c:pt idx="1090">
                  <c:v>42880</c:v>
                </c:pt>
                <c:pt idx="1091">
                  <c:v>42881</c:v>
                </c:pt>
                <c:pt idx="1092">
                  <c:v>42884</c:v>
                </c:pt>
                <c:pt idx="1093">
                  <c:v>42885</c:v>
                </c:pt>
                <c:pt idx="1094">
                  <c:v>42886</c:v>
                </c:pt>
                <c:pt idx="1095">
                  <c:v>42887</c:v>
                </c:pt>
                <c:pt idx="1096">
                  <c:v>42888</c:v>
                </c:pt>
                <c:pt idx="1097">
                  <c:v>42891</c:v>
                </c:pt>
                <c:pt idx="1098">
                  <c:v>42892</c:v>
                </c:pt>
                <c:pt idx="1099">
                  <c:v>42893</c:v>
                </c:pt>
                <c:pt idx="1100">
                  <c:v>42894</c:v>
                </c:pt>
                <c:pt idx="1101">
                  <c:v>42895</c:v>
                </c:pt>
                <c:pt idx="1102">
                  <c:v>42898</c:v>
                </c:pt>
                <c:pt idx="1103">
                  <c:v>42899</c:v>
                </c:pt>
                <c:pt idx="1104">
                  <c:v>42900</c:v>
                </c:pt>
                <c:pt idx="1105">
                  <c:v>42901</c:v>
                </c:pt>
                <c:pt idx="1106">
                  <c:v>42902</c:v>
                </c:pt>
                <c:pt idx="1107">
                  <c:v>42905</c:v>
                </c:pt>
                <c:pt idx="1108">
                  <c:v>42906</c:v>
                </c:pt>
                <c:pt idx="1109">
                  <c:v>42907</c:v>
                </c:pt>
                <c:pt idx="1110">
                  <c:v>42908</c:v>
                </c:pt>
                <c:pt idx="1111">
                  <c:v>42909</c:v>
                </c:pt>
                <c:pt idx="1112">
                  <c:v>42912</c:v>
                </c:pt>
                <c:pt idx="1113">
                  <c:v>42913</c:v>
                </c:pt>
                <c:pt idx="1114">
                  <c:v>42914</c:v>
                </c:pt>
                <c:pt idx="1115">
                  <c:v>42915</c:v>
                </c:pt>
                <c:pt idx="1116">
                  <c:v>42916</c:v>
                </c:pt>
                <c:pt idx="1117">
                  <c:v>42919</c:v>
                </c:pt>
                <c:pt idx="1118">
                  <c:v>42920</c:v>
                </c:pt>
                <c:pt idx="1119">
                  <c:v>42921</c:v>
                </c:pt>
                <c:pt idx="1120">
                  <c:v>42922</c:v>
                </c:pt>
                <c:pt idx="1121">
                  <c:v>42923</c:v>
                </c:pt>
                <c:pt idx="1122">
                  <c:v>42926</c:v>
                </c:pt>
                <c:pt idx="1123">
                  <c:v>42927</c:v>
                </c:pt>
                <c:pt idx="1124">
                  <c:v>42928</c:v>
                </c:pt>
                <c:pt idx="1125">
                  <c:v>42929</c:v>
                </c:pt>
                <c:pt idx="1126">
                  <c:v>42930</c:v>
                </c:pt>
                <c:pt idx="1127">
                  <c:v>42933</c:v>
                </c:pt>
                <c:pt idx="1128">
                  <c:v>42934</c:v>
                </c:pt>
                <c:pt idx="1129">
                  <c:v>42935</c:v>
                </c:pt>
                <c:pt idx="1130">
                  <c:v>42936</c:v>
                </c:pt>
                <c:pt idx="1131">
                  <c:v>42937</c:v>
                </c:pt>
                <c:pt idx="1132">
                  <c:v>42940</c:v>
                </c:pt>
                <c:pt idx="1133">
                  <c:v>42941</c:v>
                </c:pt>
                <c:pt idx="1134">
                  <c:v>42942</c:v>
                </c:pt>
                <c:pt idx="1135">
                  <c:v>42943</c:v>
                </c:pt>
                <c:pt idx="1136">
                  <c:v>42944</c:v>
                </c:pt>
                <c:pt idx="1137">
                  <c:v>42947</c:v>
                </c:pt>
                <c:pt idx="1138">
                  <c:v>42948</c:v>
                </c:pt>
                <c:pt idx="1139">
                  <c:v>42949</c:v>
                </c:pt>
                <c:pt idx="1140">
                  <c:v>42950</c:v>
                </c:pt>
                <c:pt idx="1141">
                  <c:v>42951</c:v>
                </c:pt>
                <c:pt idx="1142">
                  <c:v>42954</c:v>
                </c:pt>
                <c:pt idx="1143">
                  <c:v>42955</c:v>
                </c:pt>
                <c:pt idx="1144">
                  <c:v>42956</c:v>
                </c:pt>
                <c:pt idx="1145">
                  <c:v>42957</c:v>
                </c:pt>
                <c:pt idx="1146">
                  <c:v>42958</c:v>
                </c:pt>
                <c:pt idx="1147">
                  <c:v>42961</c:v>
                </c:pt>
                <c:pt idx="1148">
                  <c:v>42962</c:v>
                </c:pt>
                <c:pt idx="1149">
                  <c:v>42963</c:v>
                </c:pt>
                <c:pt idx="1150">
                  <c:v>42964</c:v>
                </c:pt>
                <c:pt idx="1151">
                  <c:v>42965</c:v>
                </c:pt>
                <c:pt idx="1152">
                  <c:v>42968</c:v>
                </c:pt>
                <c:pt idx="1153">
                  <c:v>42969</c:v>
                </c:pt>
                <c:pt idx="1154">
                  <c:v>42970</c:v>
                </c:pt>
                <c:pt idx="1155">
                  <c:v>42971</c:v>
                </c:pt>
                <c:pt idx="1156">
                  <c:v>42972</c:v>
                </c:pt>
                <c:pt idx="1157">
                  <c:v>42975</c:v>
                </c:pt>
                <c:pt idx="1158">
                  <c:v>42976</c:v>
                </c:pt>
                <c:pt idx="1159">
                  <c:v>42977</c:v>
                </c:pt>
                <c:pt idx="1160">
                  <c:v>42978</c:v>
                </c:pt>
                <c:pt idx="1161">
                  <c:v>42979</c:v>
                </c:pt>
                <c:pt idx="1162">
                  <c:v>42982</c:v>
                </c:pt>
                <c:pt idx="1163">
                  <c:v>42983</c:v>
                </c:pt>
                <c:pt idx="1164">
                  <c:v>42984</c:v>
                </c:pt>
                <c:pt idx="1165">
                  <c:v>42985</c:v>
                </c:pt>
                <c:pt idx="1166">
                  <c:v>42986</c:v>
                </c:pt>
                <c:pt idx="1167">
                  <c:v>42989</c:v>
                </c:pt>
                <c:pt idx="1168">
                  <c:v>42990</c:v>
                </c:pt>
                <c:pt idx="1169">
                  <c:v>42991</c:v>
                </c:pt>
                <c:pt idx="1170">
                  <c:v>42992</c:v>
                </c:pt>
                <c:pt idx="1171">
                  <c:v>42993</c:v>
                </c:pt>
                <c:pt idx="1172">
                  <c:v>42996</c:v>
                </c:pt>
                <c:pt idx="1173">
                  <c:v>42997</c:v>
                </c:pt>
                <c:pt idx="1174">
                  <c:v>42998</c:v>
                </c:pt>
                <c:pt idx="1175">
                  <c:v>42999</c:v>
                </c:pt>
                <c:pt idx="1176">
                  <c:v>43000</c:v>
                </c:pt>
                <c:pt idx="1177">
                  <c:v>43003</c:v>
                </c:pt>
                <c:pt idx="1178">
                  <c:v>43004</c:v>
                </c:pt>
                <c:pt idx="1179">
                  <c:v>43005</c:v>
                </c:pt>
                <c:pt idx="1180">
                  <c:v>43006</c:v>
                </c:pt>
                <c:pt idx="1181">
                  <c:v>43007</c:v>
                </c:pt>
                <c:pt idx="1182">
                  <c:v>43010</c:v>
                </c:pt>
                <c:pt idx="1183">
                  <c:v>43011</c:v>
                </c:pt>
                <c:pt idx="1184">
                  <c:v>43012</c:v>
                </c:pt>
                <c:pt idx="1185">
                  <c:v>43013</c:v>
                </c:pt>
                <c:pt idx="1186">
                  <c:v>43014</c:v>
                </c:pt>
                <c:pt idx="1187">
                  <c:v>43017</c:v>
                </c:pt>
                <c:pt idx="1188">
                  <c:v>43018</c:v>
                </c:pt>
                <c:pt idx="1189">
                  <c:v>43019</c:v>
                </c:pt>
                <c:pt idx="1190">
                  <c:v>43020</c:v>
                </c:pt>
                <c:pt idx="1191">
                  <c:v>43021</c:v>
                </c:pt>
                <c:pt idx="1192">
                  <c:v>43024</c:v>
                </c:pt>
                <c:pt idx="1193">
                  <c:v>43025</c:v>
                </c:pt>
                <c:pt idx="1194">
                  <c:v>43026</c:v>
                </c:pt>
                <c:pt idx="1195">
                  <c:v>43027</c:v>
                </c:pt>
                <c:pt idx="1196">
                  <c:v>43028</c:v>
                </c:pt>
                <c:pt idx="1197">
                  <c:v>43031</c:v>
                </c:pt>
                <c:pt idx="1198">
                  <c:v>43032</c:v>
                </c:pt>
                <c:pt idx="1199">
                  <c:v>43033</c:v>
                </c:pt>
                <c:pt idx="1200">
                  <c:v>43034</c:v>
                </c:pt>
                <c:pt idx="1201">
                  <c:v>43035</c:v>
                </c:pt>
                <c:pt idx="1202">
                  <c:v>43038</c:v>
                </c:pt>
                <c:pt idx="1203">
                  <c:v>43039</c:v>
                </c:pt>
                <c:pt idx="1204">
                  <c:v>43040</c:v>
                </c:pt>
                <c:pt idx="1205">
                  <c:v>43041</c:v>
                </c:pt>
                <c:pt idx="1206">
                  <c:v>43042</c:v>
                </c:pt>
                <c:pt idx="1207">
                  <c:v>43045</c:v>
                </c:pt>
                <c:pt idx="1208">
                  <c:v>43046</c:v>
                </c:pt>
                <c:pt idx="1209">
                  <c:v>43047</c:v>
                </c:pt>
                <c:pt idx="1210">
                  <c:v>43048</c:v>
                </c:pt>
                <c:pt idx="1211">
                  <c:v>43049</c:v>
                </c:pt>
                <c:pt idx="1212">
                  <c:v>43052</c:v>
                </c:pt>
                <c:pt idx="1213">
                  <c:v>43053</c:v>
                </c:pt>
                <c:pt idx="1214">
                  <c:v>43054</c:v>
                </c:pt>
                <c:pt idx="1215">
                  <c:v>43055</c:v>
                </c:pt>
                <c:pt idx="1216">
                  <c:v>43056</c:v>
                </c:pt>
                <c:pt idx="1217">
                  <c:v>43059</c:v>
                </c:pt>
                <c:pt idx="1218">
                  <c:v>43060</c:v>
                </c:pt>
                <c:pt idx="1219">
                  <c:v>43061</c:v>
                </c:pt>
                <c:pt idx="1220">
                  <c:v>43062</c:v>
                </c:pt>
                <c:pt idx="1221">
                  <c:v>43063</c:v>
                </c:pt>
                <c:pt idx="1222">
                  <c:v>43066</c:v>
                </c:pt>
                <c:pt idx="1223">
                  <c:v>43067</c:v>
                </c:pt>
                <c:pt idx="1224">
                  <c:v>43068</c:v>
                </c:pt>
                <c:pt idx="1225">
                  <c:v>43069</c:v>
                </c:pt>
                <c:pt idx="1226">
                  <c:v>43070</c:v>
                </c:pt>
                <c:pt idx="1227">
                  <c:v>43073</c:v>
                </c:pt>
                <c:pt idx="1228">
                  <c:v>43074</c:v>
                </c:pt>
                <c:pt idx="1229">
                  <c:v>43075</c:v>
                </c:pt>
                <c:pt idx="1230">
                  <c:v>43076</c:v>
                </c:pt>
                <c:pt idx="1231">
                  <c:v>43077</c:v>
                </c:pt>
                <c:pt idx="1232">
                  <c:v>43080</c:v>
                </c:pt>
                <c:pt idx="1233">
                  <c:v>43081</c:v>
                </c:pt>
                <c:pt idx="1234">
                  <c:v>43082</c:v>
                </c:pt>
                <c:pt idx="1235">
                  <c:v>43083</c:v>
                </c:pt>
                <c:pt idx="1236">
                  <c:v>43084</c:v>
                </c:pt>
                <c:pt idx="1237">
                  <c:v>43087</c:v>
                </c:pt>
                <c:pt idx="1238">
                  <c:v>43088</c:v>
                </c:pt>
                <c:pt idx="1239">
                  <c:v>43089</c:v>
                </c:pt>
                <c:pt idx="1240">
                  <c:v>43090</c:v>
                </c:pt>
                <c:pt idx="1241">
                  <c:v>43091</c:v>
                </c:pt>
                <c:pt idx="1242">
                  <c:v>43094</c:v>
                </c:pt>
                <c:pt idx="1243">
                  <c:v>43095</c:v>
                </c:pt>
                <c:pt idx="1244">
                  <c:v>43096</c:v>
                </c:pt>
                <c:pt idx="1245">
                  <c:v>43097</c:v>
                </c:pt>
                <c:pt idx="1246">
                  <c:v>43098</c:v>
                </c:pt>
                <c:pt idx="1247">
                  <c:v>43101</c:v>
                </c:pt>
                <c:pt idx="1248">
                  <c:v>43102</c:v>
                </c:pt>
                <c:pt idx="1249">
                  <c:v>43103</c:v>
                </c:pt>
                <c:pt idx="1250">
                  <c:v>43104</c:v>
                </c:pt>
                <c:pt idx="1251">
                  <c:v>43105</c:v>
                </c:pt>
                <c:pt idx="1252">
                  <c:v>43108</c:v>
                </c:pt>
                <c:pt idx="1253">
                  <c:v>43109</c:v>
                </c:pt>
                <c:pt idx="1254">
                  <c:v>43110</c:v>
                </c:pt>
                <c:pt idx="1255">
                  <c:v>43111</c:v>
                </c:pt>
                <c:pt idx="1256">
                  <c:v>43112</c:v>
                </c:pt>
                <c:pt idx="1257">
                  <c:v>43115</c:v>
                </c:pt>
                <c:pt idx="1258">
                  <c:v>43116</c:v>
                </c:pt>
                <c:pt idx="1259">
                  <c:v>43117</c:v>
                </c:pt>
                <c:pt idx="1260">
                  <c:v>43118</c:v>
                </c:pt>
                <c:pt idx="1261">
                  <c:v>43119</c:v>
                </c:pt>
                <c:pt idx="1262">
                  <c:v>43122</c:v>
                </c:pt>
                <c:pt idx="1263">
                  <c:v>43123</c:v>
                </c:pt>
                <c:pt idx="1264">
                  <c:v>43124</c:v>
                </c:pt>
                <c:pt idx="1265">
                  <c:v>43125</c:v>
                </c:pt>
                <c:pt idx="1266">
                  <c:v>43126</c:v>
                </c:pt>
                <c:pt idx="1267">
                  <c:v>43129</c:v>
                </c:pt>
                <c:pt idx="1268">
                  <c:v>43130</c:v>
                </c:pt>
                <c:pt idx="1269">
                  <c:v>43131</c:v>
                </c:pt>
                <c:pt idx="1270">
                  <c:v>43132</c:v>
                </c:pt>
                <c:pt idx="1271">
                  <c:v>43133</c:v>
                </c:pt>
                <c:pt idx="1272">
                  <c:v>43136</c:v>
                </c:pt>
                <c:pt idx="1273">
                  <c:v>43137</c:v>
                </c:pt>
                <c:pt idx="1274">
                  <c:v>43138</c:v>
                </c:pt>
                <c:pt idx="1275">
                  <c:v>43139</c:v>
                </c:pt>
                <c:pt idx="1276">
                  <c:v>43140</c:v>
                </c:pt>
                <c:pt idx="1277">
                  <c:v>43143</c:v>
                </c:pt>
                <c:pt idx="1278">
                  <c:v>43144</c:v>
                </c:pt>
                <c:pt idx="1279">
                  <c:v>43145</c:v>
                </c:pt>
                <c:pt idx="1280">
                  <c:v>43146</c:v>
                </c:pt>
                <c:pt idx="1281">
                  <c:v>43147</c:v>
                </c:pt>
                <c:pt idx="1282">
                  <c:v>43150</c:v>
                </c:pt>
                <c:pt idx="1283">
                  <c:v>43151</c:v>
                </c:pt>
                <c:pt idx="1284">
                  <c:v>43152</c:v>
                </c:pt>
                <c:pt idx="1285">
                  <c:v>43153</c:v>
                </c:pt>
                <c:pt idx="1286">
                  <c:v>43154</c:v>
                </c:pt>
                <c:pt idx="1287">
                  <c:v>43157</c:v>
                </c:pt>
                <c:pt idx="1288">
                  <c:v>43158</c:v>
                </c:pt>
                <c:pt idx="1289">
                  <c:v>43159</c:v>
                </c:pt>
                <c:pt idx="1290">
                  <c:v>43160</c:v>
                </c:pt>
                <c:pt idx="1291">
                  <c:v>43161</c:v>
                </c:pt>
                <c:pt idx="1292">
                  <c:v>43164</c:v>
                </c:pt>
                <c:pt idx="1293">
                  <c:v>43165</c:v>
                </c:pt>
                <c:pt idx="1294">
                  <c:v>43166</c:v>
                </c:pt>
                <c:pt idx="1295">
                  <c:v>43167</c:v>
                </c:pt>
                <c:pt idx="1296">
                  <c:v>43168</c:v>
                </c:pt>
                <c:pt idx="1297">
                  <c:v>43171</c:v>
                </c:pt>
                <c:pt idx="1298">
                  <c:v>43172</c:v>
                </c:pt>
                <c:pt idx="1299">
                  <c:v>43173</c:v>
                </c:pt>
                <c:pt idx="1300">
                  <c:v>43174</c:v>
                </c:pt>
                <c:pt idx="1301">
                  <c:v>43175</c:v>
                </c:pt>
                <c:pt idx="1302">
                  <c:v>43178</c:v>
                </c:pt>
                <c:pt idx="1303">
                  <c:v>43179</c:v>
                </c:pt>
                <c:pt idx="1304">
                  <c:v>43180</c:v>
                </c:pt>
                <c:pt idx="1305">
                  <c:v>43181</c:v>
                </c:pt>
                <c:pt idx="1306">
                  <c:v>43182</c:v>
                </c:pt>
                <c:pt idx="1307">
                  <c:v>43185</c:v>
                </c:pt>
                <c:pt idx="1308">
                  <c:v>43186</c:v>
                </c:pt>
                <c:pt idx="1309">
                  <c:v>43187</c:v>
                </c:pt>
                <c:pt idx="1310">
                  <c:v>43188</c:v>
                </c:pt>
                <c:pt idx="1311">
                  <c:v>43189</c:v>
                </c:pt>
                <c:pt idx="1312">
                  <c:v>43192</c:v>
                </c:pt>
                <c:pt idx="1313">
                  <c:v>43193</c:v>
                </c:pt>
                <c:pt idx="1314">
                  <c:v>43194</c:v>
                </c:pt>
                <c:pt idx="1315">
                  <c:v>43195</c:v>
                </c:pt>
                <c:pt idx="1316">
                  <c:v>43196</c:v>
                </c:pt>
                <c:pt idx="1317">
                  <c:v>43199</c:v>
                </c:pt>
                <c:pt idx="1318">
                  <c:v>43200</c:v>
                </c:pt>
                <c:pt idx="1319">
                  <c:v>43201</c:v>
                </c:pt>
                <c:pt idx="1320">
                  <c:v>43202</c:v>
                </c:pt>
                <c:pt idx="1321">
                  <c:v>43203</c:v>
                </c:pt>
                <c:pt idx="1322">
                  <c:v>43206</c:v>
                </c:pt>
                <c:pt idx="1323">
                  <c:v>43207</c:v>
                </c:pt>
                <c:pt idx="1324">
                  <c:v>43208</c:v>
                </c:pt>
                <c:pt idx="1325">
                  <c:v>43209</c:v>
                </c:pt>
                <c:pt idx="1326">
                  <c:v>43210</c:v>
                </c:pt>
                <c:pt idx="1327">
                  <c:v>43213</c:v>
                </c:pt>
                <c:pt idx="1328">
                  <c:v>43214</c:v>
                </c:pt>
                <c:pt idx="1329">
                  <c:v>43215</c:v>
                </c:pt>
                <c:pt idx="1330">
                  <c:v>43216</c:v>
                </c:pt>
                <c:pt idx="1331">
                  <c:v>43217</c:v>
                </c:pt>
                <c:pt idx="1332">
                  <c:v>43220</c:v>
                </c:pt>
                <c:pt idx="1333">
                  <c:v>43221</c:v>
                </c:pt>
                <c:pt idx="1334">
                  <c:v>43222</c:v>
                </c:pt>
                <c:pt idx="1335">
                  <c:v>43223</c:v>
                </c:pt>
                <c:pt idx="1336">
                  <c:v>43224</c:v>
                </c:pt>
                <c:pt idx="1337">
                  <c:v>43227</c:v>
                </c:pt>
                <c:pt idx="1338">
                  <c:v>43228</c:v>
                </c:pt>
                <c:pt idx="1339">
                  <c:v>43229</c:v>
                </c:pt>
                <c:pt idx="1340">
                  <c:v>43230</c:v>
                </c:pt>
                <c:pt idx="1341">
                  <c:v>43231</c:v>
                </c:pt>
                <c:pt idx="1342">
                  <c:v>43234</c:v>
                </c:pt>
                <c:pt idx="1343">
                  <c:v>43235</c:v>
                </c:pt>
                <c:pt idx="1344">
                  <c:v>43236</c:v>
                </c:pt>
                <c:pt idx="1345">
                  <c:v>43237</c:v>
                </c:pt>
                <c:pt idx="1346">
                  <c:v>43238</c:v>
                </c:pt>
                <c:pt idx="1347">
                  <c:v>43241</c:v>
                </c:pt>
                <c:pt idx="1348">
                  <c:v>43242</c:v>
                </c:pt>
                <c:pt idx="1349">
                  <c:v>43243</c:v>
                </c:pt>
                <c:pt idx="1350">
                  <c:v>43244</c:v>
                </c:pt>
                <c:pt idx="1351">
                  <c:v>43245</c:v>
                </c:pt>
                <c:pt idx="1352">
                  <c:v>43248</c:v>
                </c:pt>
                <c:pt idx="1353">
                  <c:v>43249</c:v>
                </c:pt>
                <c:pt idx="1354">
                  <c:v>43250</c:v>
                </c:pt>
                <c:pt idx="1355">
                  <c:v>43251</c:v>
                </c:pt>
                <c:pt idx="1356">
                  <c:v>43252</c:v>
                </c:pt>
                <c:pt idx="1357">
                  <c:v>43255</c:v>
                </c:pt>
                <c:pt idx="1358">
                  <c:v>43256</c:v>
                </c:pt>
                <c:pt idx="1359">
                  <c:v>43257</c:v>
                </c:pt>
                <c:pt idx="1360">
                  <c:v>43258</c:v>
                </c:pt>
                <c:pt idx="1361">
                  <c:v>43259</c:v>
                </c:pt>
                <c:pt idx="1362">
                  <c:v>43262</c:v>
                </c:pt>
                <c:pt idx="1363">
                  <c:v>43263</c:v>
                </c:pt>
                <c:pt idx="1364">
                  <c:v>43264</c:v>
                </c:pt>
                <c:pt idx="1365">
                  <c:v>43265</c:v>
                </c:pt>
                <c:pt idx="1366">
                  <c:v>43266</c:v>
                </c:pt>
                <c:pt idx="1367">
                  <c:v>43269</c:v>
                </c:pt>
                <c:pt idx="1368">
                  <c:v>43270</c:v>
                </c:pt>
                <c:pt idx="1369">
                  <c:v>43271</c:v>
                </c:pt>
                <c:pt idx="1370">
                  <c:v>43272</c:v>
                </c:pt>
                <c:pt idx="1371">
                  <c:v>43273</c:v>
                </c:pt>
                <c:pt idx="1372">
                  <c:v>43276</c:v>
                </c:pt>
                <c:pt idx="1373">
                  <c:v>43277</c:v>
                </c:pt>
                <c:pt idx="1374">
                  <c:v>43278</c:v>
                </c:pt>
                <c:pt idx="1375">
                  <c:v>43279</c:v>
                </c:pt>
                <c:pt idx="1376">
                  <c:v>43280</c:v>
                </c:pt>
                <c:pt idx="1377">
                  <c:v>43283</c:v>
                </c:pt>
                <c:pt idx="1378">
                  <c:v>43284</c:v>
                </c:pt>
                <c:pt idx="1379">
                  <c:v>43285</c:v>
                </c:pt>
                <c:pt idx="1380">
                  <c:v>43286</c:v>
                </c:pt>
                <c:pt idx="1381">
                  <c:v>43287</c:v>
                </c:pt>
                <c:pt idx="1382">
                  <c:v>43290</c:v>
                </c:pt>
                <c:pt idx="1383">
                  <c:v>43291</c:v>
                </c:pt>
                <c:pt idx="1384">
                  <c:v>43292</c:v>
                </c:pt>
                <c:pt idx="1385">
                  <c:v>43293</c:v>
                </c:pt>
                <c:pt idx="1386">
                  <c:v>43294</c:v>
                </c:pt>
                <c:pt idx="1387">
                  <c:v>43297</c:v>
                </c:pt>
                <c:pt idx="1388">
                  <c:v>43298</c:v>
                </c:pt>
                <c:pt idx="1389">
                  <c:v>43299</c:v>
                </c:pt>
                <c:pt idx="1390">
                  <c:v>43300</c:v>
                </c:pt>
                <c:pt idx="1391">
                  <c:v>43301</c:v>
                </c:pt>
                <c:pt idx="1392">
                  <c:v>43304</c:v>
                </c:pt>
                <c:pt idx="1393">
                  <c:v>43305</c:v>
                </c:pt>
                <c:pt idx="1394">
                  <c:v>43306</c:v>
                </c:pt>
                <c:pt idx="1395">
                  <c:v>43307</c:v>
                </c:pt>
                <c:pt idx="1396">
                  <c:v>43308</c:v>
                </c:pt>
                <c:pt idx="1397">
                  <c:v>43311</c:v>
                </c:pt>
                <c:pt idx="1398">
                  <c:v>43312</c:v>
                </c:pt>
                <c:pt idx="1399">
                  <c:v>43313</c:v>
                </c:pt>
                <c:pt idx="1400">
                  <c:v>43314</c:v>
                </c:pt>
                <c:pt idx="1401">
                  <c:v>43315</c:v>
                </c:pt>
                <c:pt idx="1402">
                  <c:v>43318</c:v>
                </c:pt>
                <c:pt idx="1403">
                  <c:v>43319</c:v>
                </c:pt>
                <c:pt idx="1404">
                  <c:v>43320</c:v>
                </c:pt>
                <c:pt idx="1405">
                  <c:v>43321</c:v>
                </c:pt>
                <c:pt idx="1406">
                  <c:v>43322</c:v>
                </c:pt>
                <c:pt idx="1407">
                  <c:v>43325</c:v>
                </c:pt>
                <c:pt idx="1408">
                  <c:v>43326</c:v>
                </c:pt>
                <c:pt idx="1409">
                  <c:v>43327</c:v>
                </c:pt>
                <c:pt idx="1410">
                  <c:v>43328</c:v>
                </c:pt>
                <c:pt idx="1411">
                  <c:v>43329</c:v>
                </c:pt>
                <c:pt idx="1412">
                  <c:v>43332</c:v>
                </c:pt>
                <c:pt idx="1413">
                  <c:v>43333</c:v>
                </c:pt>
                <c:pt idx="1414">
                  <c:v>43334</c:v>
                </c:pt>
                <c:pt idx="1415">
                  <c:v>43335</c:v>
                </c:pt>
                <c:pt idx="1416">
                  <c:v>43336</c:v>
                </c:pt>
                <c:pt idx="1417">
                  <c:v>43339</c:v>
                </c:pt>
                <c:pt idx="1418">
                  <c:v>43340</c:v>
                </c:pt>
                <c:pt idx="1419">
                  <c:v>43341</c:v>
                </c:pt>
                <c:pt idx="1420">
                  <c:v>43342</c:v>
                </c:pt>
                <c:pt idx="1421">
                  <c:v>43343</c:v>
                </c:pt>
                <c:pt idx="1422">
                  <c:v>43346</c:v>
                </c:pt>
                <c:pt idx="1423">
                  <c:v>43347</c:v>
                </c:pt>
                <c:pt idx="1424">
                  <c:v>43348</c:v>
                </c:pt>
                <c:pt idx="1425">
                  <c:v>43349</c:v>
                </c:pt>
                <c:pt idx="1426">
                  <c:v>43350</c:v>
                </c:pt>
                <c:pt idx="1427">
                  <c:v>43353</c:v>
                </c:pt>
                <c:pt idx="1428">
                  <c:v>43354</c:v>
                </c:pt>
                <c:pt idx="1429">
                  <c:v>43355</c:v>
                </c:pt>
                <c:pt idx="1430">
                  <c:v>43356</c:v>
                </c:pt>
                <c:pt idx="1431">
                  <c:v>43357</c:v>
                </c:pt>
                <c:pt idx="1432">
                  <c:v>43360</c:v>
                </c:pt>
                <c:pt idx="1433">
                  <c:v>43361</c:v>
                </c:pt>
                <c:pt idx="1434">
                  <c:v>43362</c:v>
                </c:pt>
                <c:pt idx="1435">
                  <c:v>43363</c:v>
                </c:pt>
                <c:pt idx="1436">
                  <c:v>43364</c:v>
                </c:pt>
                <c:pt idx="1437">
                  <c:v>43367</c:v>
                </c:pt>
                <c:pt idx="1438">
                  <c:v>43368</c:v>
                </c:pt>
                <c:pt idx="1439">
                  <c:v>43369</c:v>
                </c:pt>
                <c:pt idx="1440">
                  <c:v>43370</c:v>
                </c:pt>
                <c:pt idx="1441">
                  <c:v>43371</c:v>
                </c:pt>
                <c:pt idx="1442">
                  <c:v>43374</c:v>
                </c:pt>
                <c:pt idx="1443">
                  <c:v>43375</c:v>
                </c:pt>
                <c:pt idx="1444">
                  <c:v>43376</c:v>
                </c:pt>
                <c:pt idx="1445">
                  <c:v>43377</c:v>
                </c:pt>
                <c:pt idx="1446">
                  <c:v>43378</c:v>
                </c:pt>
                <c:pt idx="1447">
                  <c:v>43381</c:v>
                </c:pt>
                <c:pt idx="1448">
                  <c:v>43382</c:v>
                </c:pt>
                <c:pt idx="1449">
                  <c:v>43383</c:v>
                </c:pt>
                <c:pt idx="1450">
                  <c:v>43384</c:v>
                </c:pt>
                <c:pt idx="1451">
                  <c:v>43385</c:v>
                </c:pt>
                <c:pt idx="1452">
                  <c:v>43388</c:v>
                </c:pt>
                <c:pt idx="1453">
                  <c:v>43389</c:v>
                </c:pt>
                <c:pt idx="1454">
                  <c:v>43390</c:v>
                </c:pt>
                <c:pt idx="1455">
                  <c:v>43391</c:v>
                </c:pt>
                <c:pt idx="1456">
                  <c:v>43392</c:v>
                </c:pt>
                <c:pt idx="1457">
                  <c:v>43395</c:v>
                </c:pt>
                <c:pt idx="1458">
                  <c:v>43396</c:v>
                </c:pt>
                <c:pt idx="1459">
                  <c:v>43397</c:v>
                </c:pt>
                <c:pt idx="1460">
                  <c:v>43398</c:v>
                </c:pt>
                <c:pt idx="1461">
                  <c:v>43399</c:v>
                </c:pt>
                <c:pt idx="1462">
                  <c:v>43402</c:v>
                </c:pt>
                <c:pt idx="1463">
                  <c:v>43403</c:v>
                </c:pt>
                <c:pt idx="1464">
                  <c:v>43404</c:v>
                </c:pt>
                <c:pt idx="1465">
                  <c:v>43405</c:v>
                </c:pt>
                <c:pt idx="1466">
                  <c:v>43406</c:v>
                </c:pt>
                <c:pt idx="1467">
                  <c:v>43409</c:v>
                </c:pt>
                <c:pt idx="1468">
                  <c:v>43410</c:v>
                </c:pt>
                <c:pt idx="1469">
                  <c:v>43411</c:v>
                </c:pt>
                <c:pt idx="1470">
                  <c:v>43412</c:v>
                </c:pt>
                <c:pt idx="1471">
                  <c:v>43413</c:v>
                </c:pt>
                <c:pt idx="1472">
                  <c:v>43416</c:v>
                </c:pt>
                <c:pt idx="1473">
                  <c:v>43417</c:v>
                </c:pt>
                <c:pt idx="1474">
                  <c:v>43418</c:v>
                </c:pt>
                <c:pt idx="1475">
                  <c:v>43419</c:v>
                </c:pt>
                <c:pt idx="1476">
                  <c:v>43420</c:v>
                </c:pt>
                <c:pt idx="1477">
                  <c:v>43423</c:v>
                </c:pt>
                <c:pt idx="1478">
                  <c:v>43424</c:v>
                </c:pt>
                <c:pt idx="1479">
                  <c:v>43425</c:v>
                </c:pt>
                <c:pt idx="1480">
                  <c:v>43426</c:v>
                </c:pt>
                <c:pt idx="1481">
                  <c:v>43427</c:v>
                </c:pt>
                <c:pt idx="1482">
                  <c:v>43430</c:v>
                </c:pt>
                <c:pt idx="1483">
                  <c:v>43431</c:v>
                </c:pt>
                <c:pt idx="1484">
                  <c:v>43432</c:v>
                </c:pt>
                <c:pt idx="1485">
                  <c:v>43433</c:v>
                </c:pt>
                <c:pt idx="1486">
                  <c:v>43434</c:v>
                </c:pt>
                <c:pt idx="1487">
                  <c:v>43437</c:v>
                </c:pt>
                <c:pt idx="1488">
                  <c:v>43438</c:v>
                </c:pt>
                <c:pt idx="1489">
                  <c:v>43439</c:v>
                </c:pt>
                <c:pt idx="1490">
                  <c:v>43440</c:v>
                </c:pt>
                <c:pt idx="1491">
                  <c:v>43441</c:v>
                </c:pt>
                <c:pt idx="1492">
                  <c:v>43444</c:v>
                </c:pt>
                <c:pt idx="1493">
                  <c:v>43445</c:v>
                </c:pt>
                <c:pt idx="1494">
                  <c:v>43446</c:v>
                </c:pt>
                <c:pt idx="1495">
                  <c:v>43447</c:v>
                </c:pt>
                <c:pt idx="1496">
                  <c:v>43448</c:v>
                </c:pt>
                <c:pt idx="1497">
                  <c:v>43451</c:v>
                </c:pt>
                <c:pt idx="1498">
                  <c:v>43452</c:v>
                </c:pt>
                <c:pt idx="1499">
                  <c:v>43453</c:v>
                </c:pt>
                <c:pt idx="1500">
                  <c:v>43454</c:v>
                </c:pt>
                <c:pt idx="1501">
                  <c:v>43455</c:v>
                </c:pt>
                <c:pt idx="1502">
                  <c:v>43458</c:v>
                </c:pt>
                <c:pt idx="1503">
                  <c:v>43459</c:v>
                </c:pt>
                <c:pt idx="1504">
                  <c:v>43460</c:v>
                </c:pt>
                <c:pt idx="1505">
                  <c:v>43461</c:v>
                </c:pt>
                <c:pt idx="1506">
                  <c:v>43462</c:v>
                </c:pt>
                <c:pt idx="1507">
                  <c:v>43465</c:v>
                </c:pt>
                <c:pt idx="1508">
                  <c:v>43466</c:v>
                </c:pt>
                <c:pt idx="1509">
                  <c:v>43467</c:v>
                </c:pt>
                <c:pt idx="1510">
                  <c:v>43468</c:v>
                </c:pt>
                <c:pt idx="1511">
                  <c:v>43469</c:v>
                </c:pt>
                <c:pt idx="1512">
                  <c:v>43472</c:v>
                </c:pt>
                <c:pt idx="1513">
                  <c:v>43473</c:v>
                </c:pt>
                <c:pt idx="1514">
                  <c:v>43474</c:v>
                </c:pt>
                <c:pt idx="1515">
                  <c:v>43475</c:v>
                </c:pt>
                <c:pt idx="1516">
                  <c:v>43476</c:v>
                </c:pt>
                <c:pt idx="1517">
                  <c:v>43479</c:v>
                </c:pt>
                <c:pt idx="1518">
                  <c:v>43480</c:v>
                </c:pt>
                <c:pt idx="1519">
                  <c:v>43481</c:v>
                </c:pt>
                <c:pt idx="1520">
                  <c:v>43482</c:v>
                </c:pt>
                <c:pt idx="1521">
                  <c:v>43483</c:v>
                </c:pt>
                <c:pt idx="1522">
                  <c:v>43486</c:v>
                </c:pt>
                <c:pt idx="1523">
                  <c:v>43487</c:v>
                </c:pt>
                <c:pt idx="1524">
                  <c:v>43488</c:v>
                </c:pt>
                <c:pt idx="1525">
                  <c:v>43489</c:v>
                </c:pt>
                <c:pt idx="1526">
                  <c:v>43490</c:v>
                </c:pt>
                <c:pt idx="1527">
                  <c:v>43493</c:v>
                </c:pt>
                <c:pt idx="1528">
                  <c:v>43494</c:v>
                </c:pt>
                <c:pt idx="1529">
                  <c:v>43495</c:v>
                </c:pt>
                <c:pt idx="1530">
                  <c:v>43496</c:v>
                </c:pt>
                <c:pt idx="1531">
                  <c:v>43497</c:v>
                </c:pt>
                <c:pt idx="1532">
                  <c:v>43500</c:v>
                </c:pt>
                <c:pt idx="1533">
                  <c:v>43501</c:v>
                </c:pt>
                <c:pt idx="1534">
                  <c:v>43502</c:v>
                </c:pt>
                <c:pt idx="1535">
                  <c:v>43503</c:v>
                </c:pt>
                <c:pt idx="1536">
                  <c:v>43504</c:v>
                </c:pt>
                <c:pt idx="1537">
                  <c:v>43507</c:v>
                </c:pt>
                <c:pt idx="1538">
                  <c:v>43508</c:v>
                </c:pt>
                <c:pt idx="1539">
                  <c:v>43509</c:v>
                </c:pt>
                <c:pt idx="1540">
                  <c:v>43510</c:v>
                </c:pt>
                <c:pt idx="1541">
                  <c:v>43511</c:v>
                </c:pt>
                <c:pt idx="1542">
                  <c:v>43514</c:v>
                </c:pt>
                <c:pt idx="1543">
                  <c:v>43515</c:v>
                </c:pt>
                <c:pt idx="1544">
                  <c:v>43516</c:v>
                </c:pt>
                <c:pt idx="1545">
                  <c:v>43517</c:v>
                </c:pt>
                <c:pt idx="1546">
                  <c:v>43518</c:v>
                </c:pt>
                <c:pt idx="1547">
                  <c:v>43521</c:v>
                </c:pt>
                <c:pt idx="1548">
                  <c:v>43522</c:v>
                </c:pt>
                <c:pt idx="1549">
                  <c:v>43523</c:v>
                </c:pt>
                <c:pt idx="1550">
                  <c:v>43524</c:v>
                </c:pt>
                <c:pt idx="1551">
                  <c:v>43525</c:v>
                </c:pt>
                <c:pt idx="1552">
                  <c:v>43528</c:v>
                </c:pt>
                <c:pt idx="1553">
                  <c:v>43529</c:v>
                </c:pt>
                <c:pt idx="1554">
                  <c:v>43530</c:v>
                </c:pt>
                <c:pt idx="1555">
                  <c:v>43531</c:v>
                </c:pt>
                <c:pt idx="1556">
                  <c:v>43532</c:v>
                </c:pt>
                <c:pt idx="1557">
                  <c:v>43535</c:v>
                </c:pt>
                <c:pt idx="1558">
                  <c:v>43536</c:v>
                </c:pt>
                <c:pt idx="1559">
                  <c:v>43537</c:v>
                </c:pt>
                <c:pt idx="1560">
                  <c:v>43538</c:v>
                </c:pt>
                <c:pt idx="1561">
                  <c:v>43539</c:v>
                </c:pt>
                <c:pt idx="1562">
                  <c:v>43542</c:v>
                </c:pt>
                <c:pt idx="1563">
                  <c:v>43543</c:v>
                </c:pt>
                <c:pt idx="1564">
                  <c:v>43544</c:v>
                </c:pt>
                <c:pt idx="1565">
                  <c:v>43545</c:v>
                </c:pt>
                <c:pt idx="1566">
                  <c:v>43546</c:v>
                </c:pt>
                <c:pt idx="1567">
                  <c:v>43549</c:v>
                </c:pt>
                <c:pt idx="1568">
                  <c:v>43550</c:v>
                </c:pt>
                <c:pt idx="1569">
                  <c:v>43551</c:v>
                </c:pt>
                <c:pt idx="1570">
                  <c:v>43552</c:v>
                </c:pt>
                <c:pt idx="1571">
                  <c:v>43553</c:v>
                </c:pt>
                <c:pt idx="1572">
                  <c:v>43556</c:v>
                </c:pt>
                <c:pt idx="1573">
                  <c:v>43557</c:v>
                </c:pt>
                <c:pt idx="1574">
                  <c:v>43558</c:v>
                </c:pt>
                <c:pt idx="1575">
                  <c:v>43559</c:v>
                </c:pt>
                <c:pt idx="1576">
                  <c:v>43560</c:v>
                </c:pt>
                <c:pt idx="1577">
                  <c:v>43563</c:v>
                </c:pt>
                <c:pt idx="1578">
                  <c:v>43564</c:v>
                </c:pt>
                <c:pt idx="1579">
                  <c:v>43565</c:v>
                </c:pt>
                <c:pt idx="1580">
                  <c:v>43566</c:v>
                </c:pt>
                <c:pt idx="1581">
                  <c:v>43567</c:v>
                </c:pt>
                <c:pt idx="1582">
                  <c:v>43570</c:v>
                </c:pt>
                <c:pt idx="1583">
                  <c:v>43571</c:v>
                </c:pt>
                <c:pt idx="1584">
                  <c:v>43572</c:v>
                </c:pt>
                <c:pt idx="1585">
                  <c:v>43573</c:v>
                </c:pt>
                <c:pt idx="1586">
                  <c:v>43574</c:v>
                </c:pt>
                <c:pt idx="1587">
                  <c:v>43577</c:v>
                </c:pt>
                <c:pt idx="1588">
                  <c:v>43578</c:v>
                </c:pt>
                <c:pt idx="1589">
                  <c:v>43579</c:v>
                </c:pt>
                <c:pt idx="1590">
                  <c:v>43580</c:v>
                </c:pt>
                <c:pt idx="1591">
                  <c:v>43581</c:v>
                </c:pt>
                <c:pt idx="1592">
                  <c:v>43584</c:v>
                </c:pt>
                <c:pt idx="1593">
                  <c:v>43585</c:v>
                </c:pt>
                <c:pt idx="1594">
                  <c:v>43586</c:v>
                </c:pt>
                <c:pt idx="1595">
                  <c:v>43587</c:v>
                </c:pt>
                <c:pt idx="1596">
                  <c:v>43588</c:v>
                </c:pt>
                <c:pt idx="1597">
                  <c:v>43591</c:v>
                </c:pt>
                <c:pt idx="1598">
                  <c:v>43592</c:v>
                </c:pt>
                <c:pt idx="1599">
                  <c:v>43593</c:v>
                </c:pt>
                <c:pt idx="1600">
                  <c:v>43594</c:v>
                </c:pt>
                <c:pt idx="1601">
                  <c:v>43595</c:v>
                </c:pt>
                <c:pt idx="1602">
                  <c:v>43598</c:v>
                </c:pt>
                <c:pt idx="1603">
                  <c:v>43599</c:v>
                </c:pt>
                <c:pt idx="1604">
                  <c:v>43600</c:v>
                </c:pt>
                <c:pt idx="1605">
                  <c:v>43601</c:v>
                </c:pt>
                <c:pt idx="1606">
                  <c:v>43602</c:v>
                </c:pt>
                <c:pt idx="1607">
                  <c:v>43605</c:v>
                </c:pt>
                <c:pt idx="1608">
                  <c:v>43606</c:v>
                </c:pt>
                <c:pt idx="1609">
                  <c:v>43607</c:v>
                </c:pt>
                <c:pt idx="1610">
                  <c:v>43608</c:v>
                </c:pt>
                <c:pt idx="1611">
                  <c:v>43609</c:v>
                </c:pt>
                <c:pt idx="1612">
                  <c:v>43612</c:v>
                </c:pt>
                <c:pt idx="1613">
                  <c:v>43613</c:v>
                </c:pt>
                <c:pt idx="1614">
                  <c:v>43614</c:v>
                </c:pt>
                <c:pt idx="1615">
                  <c:v>43615</c:v>
                </c:pt>
                <c:pt idx="1616">
                  <c:v>43616</c:v>
                </c:pt>
                <c:pt idx="1617">
                  <c:v>43619</c:v>
                </c:pt>
                <c:pt idx="1618">
                  <c:v>43620</c:v>
                </c:pt>
                <c:pt idx="1619">
                  <c:v>43621</c:v>
                </c:pt>
                <c:pt idx="1620">
                  <c:v>43622</c:v>
                </c:pt>
                <c:pt idx="1621">
                  <c:v>43623</c:v>
                </c:pt>
                <c:pt idx="1622">
                  <c:v>43626</c:v>
                </c:pt>
                <c:pt idx="1623">
                  <c:v>43627</c:v>
                </c:pt>
                <c:pt idx="1624">
                  <c:v>43628</c:v>
                </c:pt>
                <c:pt idx="1625">
                  <c:v>43629</c:v>
                </c:pt>
                <c:pt idx="1626">
                  <c:v>43630</c:v>
                </c:pt>
                <c:pt idx="1627">
                  <c:v>43633</c:v>
                </c:pt>
                <c:pt idx="1628">
                  <c:v>43634</c:v>
                </c:pt>
                <c:pt idx="1629">
                  <c:v>43635</c:v>
                </c:pt>
                <c:pt idx="1630">
                  <c:v>43636</c:v>
                </c:pt>
                <c:pt idx="1631">
                  <c:v>43637</c:v>
                </c:pt>
                <c:pt idx="1632">
                  <c:v>43640</c:v>
                </c:pt>
                <c:pt idx="1633">
                  <c:v>43641</c:v>
                </c:pt>
                <c:pt idx="1634">
                  <c:v>43642</c:v>
                </c:pt>
                <c:pt idx="1635">
                  <c:v>43643</c:v>
                </c:pt>
                <c:pt idx="1636">
                  <c:v>43644</c:v>
                </c:pt>
                <c:pt idx="1637">
                  <c:v>43647</c:v>
                </c:pt>
                <c:pt idx="1638">
                  <c:v>43648</c:v>
                </c:pt>
                <c:pt idx="1639">
                  <c:v>43649</c:v>
                </c:pt>
                <c:pt idx="1640">
                  <c:v>43650</c:v>
                </c:pt>
                <c:pt idx="1641">
                  <c:v>43651</c:v>
                </c:pt>
                <c:pt idx="1642">
                  <c:v>43654</c:v>
                </c:pt>
                <c:pt idx="1643">
                  <c:v>43655</c:v>
                </c:pt>
                <c:pt idx="1644">
                  <c:v>43656</c:v>
                </c:pt>
                <c:pt idx="1645">
                  <c:v>43657</c:v>
                </c:pt>
                <c:pt idx="1646">
                  <c:v>43658</c:v>
                </c:pt>
                <c:pt idx="1647">
                  <c:v>43661</c:v>
                </c:pt>
                <c:pt idx="1648">
                  <c:v>43662</c:v>
                </c:pt>
                <c:pt idx="1649">
                  <c:v>43663</c:v>
                </c:pt>
                <c:pt idx="1650">
                  <c:v>43664</c:v>
                </c:pt>
                <c:pt idx="1651">
                  <c:v>43665</c:v>
                </c:pt>
                <c:pt idx="1652">
                  <c:v>43668</c:v>
                </c:pt>
                <c:pt idx="1653">
                  <c:v>43669</c:v>
                </c:pt>
                <c:pt idx="1654">
                  <c:v>43670</c:v>
                </c:pt>
                <c:pt idx="1655">
                  <c:v>43671</c:v>
                </c:pt>
                <c:pt idx="1656">
                  <c:v>43672</c:v>
                </c:pt>
                <c:pt idx="1657">
                  <c:v>43675</c:v>
                </c:pt>
                <c:pt idx="1658">
                  <c:v>43676</c:v>
                </c:pt>
                <c:pt idx="1659">
                  <c:v>43677</c:v>
                </c:pt>
                <c:pt idx="1660">
                  <c:v>43678</c:v>
                </c:pt>
                <c:pt idx="1661">
                  <c:v>43679</c:v>
                </c:pt>
                <c:pt idx="1662">
                  <c:v>43682</c:v>
                </c:pt>
                <c:pt idx="1663">
                  <c:v>43683</c:v>
                </c:pt>
                <c:pt idx="1664">
                  <c:v>43684</c:v>
                </c:pt>
                <c:pt idx="1665">
                  <c:v>43685</c:v>
                </c:pt>
                <c:pt idx="1666">
                  <c:v>43686</c:v>
                </c:pt>
                <c:pt idx="1667">
                  <c:v>43689</c:v>
                </c:pt>
                <c:pt idx="1668">
                  <c:v>43690</c:v>
                </c:pt>
                <c:pt idx="1669">
                  <c:v>43691</c:v>
                </c:pt>
                <c:pt idx="1670">
                  <c:v>43692</c:v>
                </c:pt>
                <c:pt idx="1671">
                  <c:v>43693</c:v>
                </c:pt>
                <c:pt idx="1672">
                  <c:v>43696</c:v>
                </c:pt>
                <c:pt idx="1673">
                  <c:v>43697</c:v>
                </c:pt>
                <c:pt idx="1674">
                  <c:v>43698</c:v>
                </c:pt>
                <c:pt idx="1675">
                  <c:v>43699</c:v>
                </c:pt>
                <c:pt idx="1676">
                  <c:v>43700</c:v>
                </c:pt>
                <c:pt idx="1677">
                  <c:v>43703</c:v>
                </c:pt>
                <c:pt idx="1678">
                  <c:v>43704</c:v>
                </c:pt>
                <c:pt idx="1679">
                  <c:v>43705</c:v>
                </c:pt>
                <c:pt idx="1680">
                  <c:v>43706</c:v>
                </c:pt>
                <c:pt idx="1681">
                  <c:v>43707</c:v>
                </c:pt>
                <c:pt idx="1682">
                  <c:v>43710</c:v>
                </c:pt>
                <c:pt idx="1683">
                  <c:v>43711</c:v>
                </c:pt>
                <c:pt idx="1684">
                  <c:v>43712</c:v>
                </c:pt>
                <c:pt idx="1685">
                  <c:v>43713</c:v>
                </c:pt>
                <c:pt idx="1686">
                  <c:v>43714</c:v>
                </c:pt>
                <c:pt idx="1687">
                  <c:v>43717</c:v>
                </c:pt>
                <c:pt idx="1688">
                  <c:v>43718</c:v>
                </c:pt>
                <c:pt idx="1689">
                  <c:v>43719</c:v>
                </c:pt>
                <c:pt idx="1690">
                  <c:v>43720</c:v>
                </c:pt>
                <c:pt idx="1691">
                  <c:v>43721</c:v>
                </c:pt>
                <c:pt idx="1692">
                  <c:v>43724</c:v>
                </c:pt>
                <c:pt idx="1693">
                  <c:v>43725</c:v>
                </c:pt>
                <c:pt idx="1694">
                  <c:v>43726</c:v>
                </c:pt>
                <c:pt idx="1695">
                  <c:v>43727</c:v>
                </c:pt>
                <c:pt idx="1696">
                  <c:v>43728</c:v>
                </c:pt>
                <c:pt idx="1697">
                  <c:v>43731</c:v>
                </c:pt>
                <c:pt idx="1698">
                  <c:v>43732</c:v>
                </c:pt>
                <c:pt idx="1699">
                  <c:v>43733</c:v>
                </c:pt>
                <c:pt idx="1700">
                  <c:v>43734</c:v>
                </c:pt>
                <c:pt idx="1701">
                  <c:v>43735</c:v>
                </c:pt>
                <c:pt idx="1702">
                  <c:v>43738</c:v>
                </c:pt>
                <c:pt idx="1703">
                  <c:v>43739</c:v>
                </c:pt>
                <c:pt idx="1704">
                  <c:v>43740</c:v>
                </c:pt>
                <c:pt idx="1705">
                  <c:v>43741</c:v>
                </c:pt>
                <c:pt idx="1706">
                  <c:v>43742</c:v>
                </c:pt>
                <c:pt idx="1707">
                  <c:v>43745</c:v>
                </c:pt>
                <c:pt idx="1708">
                  <c:v>43746</c:v>
                </c:pt>
                <c:pt idx="1709">
                  <c:v>43747</c:v>
                </c:pt>
                <c:pt idx="1710">
                  <c:v>43748</c:v>
                </c:pt>
                <c:pt idx="1711">
                  <c:v>43749</c:v>
                </c:pt>
                <c:pt idx="1712">
                  <c:v>43752</c:v>
                </c:pt>
                <c:pt idx="1713">
                  <c:v>43753</c:v>
                </c:pt>
                <c:pt idx="1714">
                  <c:v>43754</c:v>
                </c:pt>
                <c:pt idx="1715">
                  <c:v>43755</c:v>
                </c:pt>
                <c:pt idx="1716">
                  <c:v>43756</c:v>
                </c:pt>
                <c:pt idx="1717">
                  <c:v>43759</c:v>
                </c:pt>
                <c:pt idx="1718">
                  <c:v>43760</c:v>
                </c:pt>
                <c:pt idx="1719">
                  <c:v>43761</c:v>
                </c:pt>
                <c:pt idx="1720">
                  <c:v>43762</c:v>
                </c:pt>
                <c:pt idx="1721">
                  <c:v>43763</c:v>
                </c:pt>
                <c:pt idx="1722">
                  <c:v>43766</c:v>
                </c:pt>
                <c:pt idx="1723">
                  <c:v>43767</c:v>
                </c:pt>
                <c:pt idx="1724">
                  <c:v>43768</c:v>
                </c:pt>
                <c:pt idx="1725">
                  <c:v>43769</c:v>
                </c:pt>
                <c:pt idx="1726">
                  <c:v>43770</c:v>
                </c:pt>
                <c:pt idx="1727">
                  <c:v>43773</c:v>
                </c:pt>
                <c:pt idx="1728">
                  <c:v>43774</c:v>
                </c:pt>
                <c:pt idx="1729">
                  <c:v>43775</c:v>
                </c:pt>
                <c:pt idx="1730">
                  <c:v>43776</c:v>
                </c:pt>
                <c:pt idx="1731">
                  <c:v>43777</c:v>
                </c:pt>
                <c:pt idx="1732">
                  <c:v>43780</c:v>
                </c:pt>
                <c:pt idx="1733">
                  <c:v>43781</c:v>
                </c:pt>
                <c:pt idx="1734">
                  <c:v>43782</c:v>
                </c:pt>
                <c:pt idx="1735">
                  <c:v>43783</c:v>
                </c:pt>
                <c:pt idx="1736">
                  <c:v>43784</c:v>
                </c:pt>
                <c:pt idx="1737">
                  <c:v>43787</c:v>
                </c:pt>
                <c:pt idx="1738">
                  <c:v>43788</c:v>
                </c:pt>
                <c:pt idx="1739">
                  <c:v>43789</c:v>
                </c:pt>
                <c:pt idx="1740">
                  <c:v>43790</c:v>
                </c:pt>
                <c:pt idx="1741">
                  <c:v>43791</c:v>
                </c:pt>
                <c:pt idx="1742">
                  <c:v>43794</c:v>
                </c:pt>
                <c:pt idx="1743">
                  <c:v>43795</c:v>
                </c:pt>
                <c:pt idx="1744">
                  <c:v>43796</c:v>
                </c:pt>
                <c:pt idx="1745">
                  <c:v>43797</c:v>
                </c:pt>
                <c:pt idx="1746">
                  <c:v>43798</c:v>
                </c:pt>
                <c:pt idx="1747">
                  <c:v>43801</c:v>
                </c:pt>
                <c:pt idx="1748">
                  <c:v>43802</c:v>
                </c:pt>
                <c:pt idx="1749">
                  <c:v>43803</c:v>
                </c:pt>
                <c:pt idx="1750">
                  <c:v>43804</c:v>
                </c:pt>
                <c:pt idx="1751">
                  <c:v>43805</c:v>
                </c:pt>
                <c:pt idx="1752">
                  <c:v>43808</c:v>
                </c:pt>
                <c:pt idx="1753">
                  <c:v>43809</c:v>
                </c:pt>
                <c:pt idx="1754">
                  <c:v>43810</c:v>
                </c:pt>
                <c:pt idx="1755">
                  <c:v>43811</c:v>
                </c:pt>
                <c:pt idx="1756">
                  <c:v>43812</c:v>
                </c:pt>
                <c:pt idx="1757">
                  <c:v>43815</c:v>
                </c:pt>
                <c:pt idx="1758">
                  <c:v>43816</c:v>
                </c:pt>
                <c:pt idx="1759">
                  <c:v>43817</c:v>
                </c:pt>
                <c:pt idx="1760">
                  <c:v>43818</c:v>
                </c:pt>
                <c:pt idx="1761">
                  <c:v>43819</c:v>
                </c:pt>
                <c:pt idx="1762">
                  <c:v>43822</c:v>
                </c:pt>
                <c:pt idx="1763">
                  <c:v>43823</c:v>
                </c:pt>
                <c:pt idx="1764">
                  <c:v>43824</c:v>
                </c:pt>
                <c:pt idx="1765">
                  <c:v>43825</c:v>
                </c:pt>
                <c:pt idx="1766">
                  <c:v>43826</c:v>
                </c:pt>
                <c:pt idx="1767">
                  <c:v>43829</c:v>
                </c:pt>
                <c:pt idx="1768">
                  <c:v>43830</c:v>
                </c:pt>
                <c:pt idx="1769">
                  <c:v>43831</c:v>
                </c:pt>
                <c:pt idx="1770">
                  <c:v>43832</c:v>
                </c:pt>
                <c:pt idx="1771">
                  <c:v>43833</c:v>
                </c:pt>
                <c:pt idx="1772">
                  <c:v>43836</c:v>
                </c:pt>
                <c:pt idx="1773">
                  <c:v>43837</c:v>
                </c:pt>
                <c:pt idx="1774">
                  <c:v>43838</c:v>
                </c:pt>
                <c:pt idx="1775">
                  <c:v>43839</c:v>
                </c:pt>
                <c:pt idx="1776">
                  <c:v>43840</c:v>
                </c:pt>
                <c:pt idx="1777">
                  <c:v>43843</c:v>
                </c:pt>
                <c:pt idx="1778">
                  <c:v>43844</c:v>
                </c:pt>
                <c:pt idx="1779">
                  <c:v>43845</c:v>
                </c:pt>
                <c:pt idx="1780">
                  <c:v>43846</c:v>
                </c:pt>
                <c:pt idx="1781">
                  <c:v>43847</c:v>
                </c:pt>
                <c:pt idx="1782">
                  <c:v>43850</c:v>
                </c:pt>
                <c:pt idx="1783">
                  <c:v>43851</c:v>
                </c:pt>
                <c:pt idx="1784">
                  <c:v>43852</c:v>
                </c:pt>
                <c:pt idx="1785">
                  <c:v>43853</c:v>
                </c:pt>
                <c:pt idx="1786">
                  <c:v>43854</c:v>
                </c:pt>
                <c:pt idx="1787">
                  <c:v>43857</c:v>
                </c:pt>
                <c:pt idx="1788">
                  <c:v>43858</c:v>
                </c:pt>
                <c:pt idx="1789">
                  <c:v>43859</c:v>
                </c:pt>
                <c:pt idx="1790">
                  <c:v>43860</c:v>
                </c:pt>
                <c:pt idx="1791">
                  <c:v>43861</c:v>
                </c:pt>
                <c:pt idx="1792">
                  <c:v>43864</c:v>
                </c:pt>
                <c:pt idx="1793">
                  <c:v>43865</c:v>
                </c:pt>
                <c:pt idx="1794">
                  <c:v>43866</c:v>
                </c:pt>
                <c:pt idx="1795">
                  <c:v>43867</c:v>
                </c:pt>
                <c:pt idx="1796">
                  <c:v>43868</c:v>
                </c:pt>
                <c:pt idx="1797">
                  <c:v>43871</c:v>
                </c:pt>
                <c:pt idx="1798">
                  <c:v>43872</c:v>
                </c:pt>
                <c:pt idx="1799">
                  <c:v>43873</c:v>
                </c:pt>
                <c:pt idx="1800">
                  <c:v>43874</c:v>
                </c:pt>
                <c:pt idx="1801">
                  <c:v>43875</c:v>
                </c:pt>
                <c:pt idx="1802">
                  <c:v>43878</c:v>
                </c:pt>
                <c:pt idx="1803">
                  <c:v>43879</c:v>
                </c:pt>
                <c:pt idx="1804">
                  <c:v>43880</c:v>
                </c:pt>
                <c:pt idx="1805">
                  <c:v>43881</c:v>
                </c:pt>
                <c:pt idx="1806">
                  <c:v>43882</c:v>
                </c:pt>
                <c:pt idx="1807">
                  <c:v>43885</c:v>
                </c:pt>
                <c:pt idx="1808">
                  <c:v>43886</c:v>
                </c:pt>
                <c:pt idx="1809">
                  <c:v>43887</c:v>
                </c:pt>
                <c:pt idx="1810">
                  <c:v>43888</c:v>
                </c:pt>
                <c:pt idx="1811">
                  <c:v>43889</c:v>
                </c:pt>
                <c:pt idx="1812">
                  <c:v>43892</c:v>
                </c:pt>
                <c:pt idx="1813">
                  <c:v>43893</c:v>
                </c:pt>
                <c:pt idx="1814">
                  <c:v>43894</c:v>
                </c:pt>
                <c:pt idx="1815">
                  <c:v>43895</c:v>
                </c:pt>
                <c:pt idx="1816">
                  <c:v>43896</c:v>
                </c:pt>
                <c:pt idx="1817">
                  <c:v>43899</c:v>
                </c:pt>
                <c:pt idx="1818">
                  <c:v>43900</c:v>
                </c:pt>
                <c:pt idx="1819">
                  <c:v>43901</c:v>
                </c:pt>
                <c:pt idx="1820">
                  <c:v>43902</c:v>
                </c:pt>
                <c:pt idx="1821">
                  <c:v>43903</c:v>
                </c:pt>
                <c:pt idx="1822">
                  <c:v>43906</c:v>
                </c:pt>
                <c:pt idx="1823">
                  <c:v>43907</c:v>
                </c:pt>
                <c:pt idx="1824">
                  <c:v>43908</c:v>
                </c:pt>
                <c:pt idx="1825">
                  <c:v>43909</c:v>
                </c:pt>
                <c:pt idx="1826">
                  <c:v>43910</c:v>
                </c:pt>
                <c:pt idx="1827">
                  <c:v>43913</c:v>
                </c:pt>
                <c:pt idx="1828">
                  <c:v>43914</c:v>
                </c:pt>
                <c:pt idx="1829">
                  <c:v>43915</c:v>
                </c:pt>
                <c:pt idx="1830">
                  <c:v>43916</c:v>
                </c:pt>
                <c:pt idx="1831">
                  <c:v>43917</c:v>
                </c:pt>
                <c:pt idx="1832">
                  <c:v>43920</c:v>
                </c:pt>
                <c:pt idx="1833">
                  <c:v>43921</c:v>
                </c:pt>
                <c:pt idx="1834">
                  <c:v>43922</c:v>
                </c:pt>
                <c:pt idx="1835">
                  <c:v>43923</c:v>
                </c:pt>
                <c:pt idx="1836">
                  <c:v>43924</c:v>
                </c:pt>
                <c:pt idx="1837">
                  <c:v>43927</c:v>
                </c:pt>
                <c:pt idx="1838">
                  <c:v>43928</c:v>
                </c:pt>
                <c:pt idx="1839">
                  <c:v>43929</c:v>
                </c:pt>
                <c:pt idx="1840">
                  <c:v>43930</c:v>
                </c:pt>
                <c:pt idx="1841">
                  <c:v>43931</c:v>
                </c:pt>
                <c:pt idx="1842">
                  <c:v>43934</c:v>
                </c:pt>
                <c:pt idx="1843">
                  <c:v>43942</c:v>
                </c:pt>
                <c:pt idx="1844">
                  <c:v>43943</c:v>
                </c:pt>
                <c:pt idx="1845">
                  <c:v>43944</c:v>
                </c:pt>
                <c:pt idx="1846">
                  <c:v>43945</c:v>
                </c:pt>
                <c:pt idx="1847">
                  <c:v>43948</c:v>
                </c:pt>
                <c:pt idx="1848">
                  <c:v>43949</c:v>
                </c:pt>
                <c:pt idx="1849">
                  <c:v>43950</c:v>
                </c:pt>
                <c:pt idx="1850">
                  <c:v>43951</c:v>
                </c:pt>
                <c:pt idx="1851">
                  <c:v>43952</c:v>
                </c:pt>
                <c:pt idx="1852">
                  <c:v>43955</c:v>
                </c:pt>
                <c:pt idx="1853">
                  <c:v>43956</c:v>
                </c:pt>
                <c:pt idx="1854">
                  <c:v>43957</c:v>
                </c:pt>
                <c:pt idx="1855">
                  <c:v>43958</c:v>
                </c:pt>
                <c:pt idx="1856">
                  <c:v>43959</c:v>
                </c:pt>
                <c:pt idx="1857">
                  <c:v>43962</c:v>
                </c:pt>
                <c:pt idx="1858">
                  <c:v>43963</c:v>
                </c:pt>
                <c:pt idx="1859">
                  <c:v>43964</c:v>
                </c:pt>
                <c:pt idx="1860">
                  <c:v>43965</c:v>
                </c:pt>
                <c:pt idx="1861">
                  <c:v>43966</c:v>
                </c:pt>
                <c:pt idx="1862">
                  <c:v>43969</c:v>
                </c:pt>
                <c:pt idx="1863">
                  <c:v>43970</c:v>
                </c:pt>
                <c:pt idx="1864">
                  <c:v>43971</c:v>
                </c:pt>
                <c:pt idx="1865">
                  <c:v>43972</c:v>
                </c:pt>
                <c:pt idx="1866">
                  <c:v>43973</c:v>
                </c:pt>
                <c:pt idx="1867">
                  <c:v>43976</c:v>
                </c:pt>
                <c:pt idx="1868">
                  <c:v>43977</c:v>
                </c:pt>
                <c:pt idx="1869">
                  <c:v>43978</c:v>
                </c:pt>
                <c:pt idx="1870">
                  <c:v>43979</c:v>
                </c:pt>
                <c:pt idx="1871">
                  <c:v>43986</c:v>
                </c:pt>
                <c:pt idx="1872">
                  <c:v>43987</c:v>
                </c:pt>
                <c:pt idx="1873">
                  <c:v>43990</c:v>
                </c:pt>
                <c:pt idx="1874">
                  <c:v>43991</c:v>
                </c:pt>
                <c:pt idx="1875">
                  <c:v>43992</c:v>
                </c:pt>
                <c:pt idx="1876">
                  <c:v>43993</c:v>
                </c:pt>
                <c:pt idx="1877">
                  <c:v>43994</c:v>
                </c:pt>
                <c:pt idx="1878">
                  <c:v>43997</c:v>
                </c:pt>
                <c:pt idx="1879">
                  <c:v>43998</c:v>
                </c:pt>
                <c:pt idx="1880">
                  <c:v>43999</c:v>
                </c:pt>
                <c:pt idx="1881">
                  <c:v>44000</c:v>
                </c:pt>
                <c:pt idx="1882">
                  <c:v>44001</c:v>
                </c:pt>
                <c:pt idx="1883">
                  <c:v>44004</c:v>
                </c:pt>
                <c:pt idx="1884">
                  <c:v>44005</c:v>
                </c:pt>
                <c:pt idx="1885">
                  <c:v>44006</c:v>
                </c:pt>
                <c:pt idx="1886">
                  <c:v>44007</c:v>
                </c:pt>
                <c:pt idx="1887">
                  <c:v>44008</c:v>
                </c:pt>
                <c:pt idx="1888">
                  <c:v>44011</c:v>
                </c:pt>
                <c:pt idx="1889">
                  <c:v>44012</c:v>
                </c:pt>
                <c:pt idx="1890">
                  <c:v>44013</c:v>
                </c:pt>
                <c:pt idx="1891">
                  <c:v>44014</c:v>
                </c:pt>
                <c:pt idx="1892">
                  <c:v>44015</c:v>
                </c:pt>
                <c:pt idx="1893">
                  <c:v>44018</c:v>
                </c:pt>
                <c:pt idx="1894">
                  <c:v>44019</c:v>
                </c:pt>
                <c:pt idx="1895">
                  <c:v>44020</c:v>
                </c:pt>
                <c:pt idx="1896">
                  <c:v>44021</c:v>
                </c:pt>
                <c:pt idx="1897">
                  <c:v>44022</c:v>
                </c:pt>
                <c:pt idx="1898">
                  <c:v>44025</c:v>
                </c:pt>
                <c:pt idx="1899">
                  <c:v>44026</c:v>
                </c:pt>
                <c:pt idx="1900">
                  <c:v>44027</c:v>
                </c:pt>
                <c:pt idx="1901">
                  <c:v>44028</c:v>
                </c:pt>
                <c:pt idx="1902">
                  <c:v>44029</c:v>
                </c:pt>
                <c:pt idx="1903">
                  <c:v>44032</c:v>
                </c:pt>
                <c:pt idx="1904">
                  <c:v>44033</c:v>
                </c:pt>
                <c:pt idx="1905">
                  <c:v>44034</c:v>
                </c:pt>
                <c:pt idx="1906">
                  <c:v>44035</c:v>
                </c:pt>
                <c:pt idx="1907">
                  <c:v>44036</c:v>
                </c:pt>
                <c:pt idx="1908">
                  <c:v>44039</c:v>
                </c:pt>
                <c:pt idx="1909">
                  <c:v>44040</c:v>
                </c:pt>
                <c:pt idx="1910">
                  <c:v>44041</c:v>
                </c:pt>
                <c:pt idx="1911">
                  <c:v>44042</c:v>
                </c:pt>
                <c:pt idx="1912">
                  <c:v>44043</c:v>
                </c:pt>
                <c:pt idx="1913">
                  <c:v>44046</c:v>
                </c:pt>
                <c:pt idx="1914">
                  <c:v>44047</c:v>
                </c:pt>
                <c:pt idx="1915">
                  <c:v>44048</c:v>
                </c:pt>
                <c:pt idx="1916">
                  <c:v>44049</c:v>
                </c:pt>
                <c:pt idx="1917">
                  <c:v>44050</c:v>
                </c:pt>
                <c:pt idx="1918">
                  <c:v>44053</c:v>
                </c:pt>
                <c:pt idx="1919">
                  <c:v>44054</c:v>
                </c:pt>
                <c:pt idx="1920">
                  <c:v>44055</c:v>
                </c:pt>
                <c:pt idx="1921">
                  <c:v>44056</c:v>
                </c:pt>
                <c:pt idx="1922">
                  <c:v>44057</c:v>
                </c:pt>
                <c:pt idx="1923">
                  <c:v>44060</c:v>
                </c:pt>
                <c:pt idx="1924">
                  <c:v>44061</c:v>
                </c:pt>
                <c:pt idx="1925">
                  <c:v>44062</c:v>
                </c:pt>
                <c:pt idx="1926">
                  <c:v>44063</c:v>
                </c:pt>
                <c:pt idx="1927">
                  <c:v>44064</c:v>
                </c:pt>
                <c:pt idx="1928">
                  <c:v>44067</c:v>
                </c:pt>
                <c:pt idx="1929">
                  <c:v>44068</c:v>
                </c:pt>
                <c:pt idx="1930">
                  <c:v>44069</c:v>
                </c:pt>
                <c:pt idx="1931">
                  <c:v>44070</c:v>
                </c:pt>
                <c:pt idx="1932">
                  <c:v>44071</c:v>
                </c:pt>
                <c:pt idx="1933">
                  <c:v>44074</c:v>
                </c:pt>
                <c:pt idx="1934">
                  <c:v>44075</c:v>
                </c:pt>
                <c:pt idx="1935">
                  <c:v>44076</c:v>
                </c:pt>
                <c:pt idx="1936">
                  <c:v>44077</c:v>
                </c:pt>
                <c:pt idx="1937">
                  <c:v>44078</c:v>
                </c:pt>
                <c:pt idx="1938">
                  <c:v>44081</c:v>
                </c:pt>
                <c:pt idx="1939">
                  <c:v>44082</c:v>
                </c:pt>
                <c:pt idx="1940">
                  <c:v>44083</c:v>
                </c:pt>
                <c:pt idx="1941">
                  <c:v>44084</c:v>
                </c:pt>
                <c:pt idx="1942">
                  <c:v>44085</c:v>
                </c:pt>
                <c:pt idx="1943">
                  <c:v>44088</c:v>
                </c:pt>
                <c:pt idx="1944">
                  <c:v>44089</c:v>
                </c:pt>
                <c:pt idx="1945">
                  <c:v>44090</c:v>
                </c:pt>
                <c:pt idx="1946">
                  <c:v>44091</c:v>
                </c:pt>
                <c:pt idx="1947">
                  <c:v>44092</c:v>
                </c:pt>
                <c:pt idx="1948">
                  <c:v>44095</c:v>
                </c:pt>
                <c:pt idx="1949">
                  <c:v>44096</c:v>
                </c:pt>
                <c:pt idx="1950">
                  <c:v>44097</c:v>
                </c:pt>
                <c:pt idx="1951">
                  <c:v>44098</c:v>
                </c:pt>
                <c:pt idx="1952">
                  <c:v>44099</c:v>
                </c:pt>
                <c:pt idx="1953">
                  <c:v>44102</c:v>
                </c:pt>
                <c:pt idx="1954">
                  <c:v>44103</c:v>
                </c:pt>
                <c:pt idx="1955">
                  <c:v>44104</c:v>
                </c:pt>
                <c:pt idx="1956">
                  <c:v>44105</c:v>
                </c:pt>
                <c:pt idx="1957">
                  <c:v>44106</c:v>
                </c:pt>
                <c:pt idx="1958">
                  <c:v>44109</c:v>
                </c:pt>
                <c:pt idx="1959">
                  <c:v>44110</c:v>
                </c:pt>
                <c:pt idx="1960">
                  <c:v>44111</c:v>
                </c:pt>
                <c:pt idx="1961">
                  <c:v>44112</c:v>
                </c:pt>
                <c:pt idx="1962">
                  <c:v>44113</c:v>
                </c:pt>
                <c:pt idx="1963">
                  <c:v>44116</c:v>
                </c:pt>
                <c:pt idx="1964">
                  <c:v>44117</c:v>
                </c:pt>
                <c:pt idx="1965">
                  <c:v>44118</c:v>
                </c:pt>
                <c:pt idx="1966">
                  <c:v>44119</c:v>
                </c:pt>
                <c:pt idx="1967">
                  <c:v>44120</c:v>
                </c:pt>
                <c:pt idx="1968">
                  <c:v>44123</c:v>
                </c:pt>
                <c:pt idx="1969">
                  <c:v>44124</c:v>
                </c:pt>
                <c:pt idx="1970">
                  <c:v>44125</c:v>
                </c:pt>
                <c:pt idx="1971">
                  <c:v>44126</c:v>
                </c:pt>
                <c:pt idx="1972">
                  <c:v>44127</c:v>
                </c:pt>
                <c:pt idx="1973">
                  <c:v>44130</c:v>
                </c:pt>
                <c:pt idx="1974">
                  <c:v>44131</c:v>
                </c:pt>
                <c:pt idx="1975">
                  <c:v>44132</c:v>
                </c:pt>
                <c:pt idx="1976">
                  <c:v>44133</c:v>
                </c:pt>
                <c:pt idx="1977">
                  <c:v>44134</c:v>
                </c:pt>
                <c:pt idx="1978">
                  <c:v>44137</c:v>
                </c:pt>
                <c:pt idx="1979">
                  <c:v>44138</c:v>
                </c:pt>
                <c:pt idx="1980">
                  <c:v>44139</c:v>
                </c:pt>
                <c:pt idx="1981">
                  <c:v>44140</c:v>
                </c:pt>
                <c:pt idx="1982">
                  <c:v>44141</c:v>
                </c:pt>
                <c:pt idx="1983">
                  <c:v>44144</c:v>
                </c:pt>
                <c:pt idx="1984">
                  <c:v>44145</c:v>
                </c:pt>
                <c:pt idx="1985">
                  <c:v>44146</c:v>
                </c:pt>
                <c:pt idx="1986">
                  <c:v>44147</c:v>
                </c:pt>
                <c:pt idx="1987">
                  <c:v>44148</c:v>
                </c:pt>
                <c:pt idx="1988">
                  <c:v>44151</c:v>
                </c:pt>
                <c:pt idx="1989">
                  <c:v>44152</c:v>
                </c:pt>
                <c:pt idx="1990">
                  <c:v>44153</c:v>
                </c:pt>
                <c:pt idx="1991">
                  <c:v>44154</c:v>
                </c:pt>
                <c:pt idx="1992">
                  <c:v>44155</c:v>
                </c:pt>
                <c:pt idx="1993">
                  <c:v>44158</c:v>
                </c:pt>
                <c:pt idx="1994">
                  <c:v>44159</c:v>
                </c:pt>
                <c:pt idx="1995">
                  <c:v>44160</c:v>
                </c:pt>
                <c:pt idx="1996">
                  <c:v>44161</c:v>
                </c:pt>
                <c:pt idx="1997">
                  <c:v>44162</c:v>
                </c:pt>
                <c:pt idx="1998">
                  <c:v>44165</c:v>
                </c:pt>
                <c:pt idx="1999">
                  <c:v>44166</c:v>
                </c:pt>
                <c:pt idx="2000">
                  <c:v>44167</c:v>
                </c:pt>
                <c:pt idx="2001">
                  <c:v>44168</c:v>
                </c:pt>
                <c:pt idx="2002">
                  <c:v>44169</c:v>
                </c:pt>
                <c:pt idx="2003">
                  <c:v>44172</c:v>
                </c:pt>
                <c:pt idx="2004">
                  <c:v>44173</c:v>
                </c:pt>
                <c:pt idx="2005">
                  <c:v>44174</c:v>
                </c:pt>
                <c:pt idx="2006">
                  <c:v>44175</c:v>
                </c:pt>
                <c:pt idx="2007">
                  <c:v>44176</c:v>
                </c:pt>
                <c:pt idx="2008">
                  <c:v>44179</c:v>
                </c:pt>
                <c:pt idx="2009">
                  <c:v>44180</c:v>
                </c:pt>
                <c:pt idx="2010">
                  <c:v>44181</c:v>
                </c:pt>
                <c:pt idx="2011">
                  <c:v>44182</c:v>
                </c:pt>
                <c:pt idx="2012">
                  <c:v>44183</c:v>
                </c:pt>
                <c:pt idx="2013">
                  <c:v>44186</c:v>
                </c:pt>
                <c:pt idx="2014">
                  <c:v>44187</c:v>
                </c:pt>
                <c:pt idx="2015">
                  <c:v>44188</c:v>
                </c:pt>
                <c:pt idx="2016">
                  <c:v>44189</c:v>
                </c:pt>
                <c:pt idx="2017">
                  <c:v>44190</c:v>
                </c:pt>
                <c:pt idx="2018">
                  <c:v>44193</c:v>
                </c:pt>
                <c:pt idx="2019">
                  <c:v>44194</c:v>
                </c:pt>
                <c:pt idx="2020">
                  <c:v>44195</c:v>
                </c:pt>
                <c:pt idx="2021">
                  <c:v>44196</c:v>
                </c:pt>
                <c:pt idx="2022">
                  <c:v>44197</c:v>
                </c:pt>
                <c:pt idx="2023">
                  <c:v>44200</c:v>
                </c:pt>
                <c:pt idx="2024">
                  <c:v>44201</c:v>
                </c:pt>
                <c:pt idx="2025">
                  <c:v>44202</c:v>
                </c:pt>
                <c:pt idx="2026">
                  <c:v>44203</c:v>
                </c:pt>
                <c:pt idx="2027">
                  <c:v>44204</c:v>
                </c:pt>
                <c:pt idx="2028">
                  <c:v>44207</c:v>
                </c:pt>
                <c:pt idx="2029">
                  <c:v>44208</c:v>
                </c:pt>
                <c:pt idx="2030">
                  <c:v>44209</c:v>
                </c:pt>
                <c:pt idx="2031">
                  <c:v>44210</c:v>
                </c:pt>
                <c:pt idx="2032">
                  <c:v>44211</c:v>
                </c:pt>
                <c:pt idx="2033">
                  <c:v>44214</c:v>
                </c:pt>
                <c:pt idx="2034">
                  <c:v>44215</c:v>
                </c:pt>
                <c:pt idx="2035">
                  <c:v>44216</c:v>
                </c:pt>
                <c:pt idx="2036">
                  <c:v>44217</c:v>
                </c:pt>
                <c:pt idx="2037">
                  <c:v>44218</c:v>
                </c:pt>
                <c:pt idx="2038">
                  <c:v>44221</c:v>
                </c:pt>
                <c:pt idx="2039">
                  <c:v>44222</c:v>
                </c:pt>
                <c:pt idx="2040">
                  <c:v>44223</c:v>
                </c:pt>
                <c:pt idx="2041">
                  <c:v>44224</c:v>
                </c:pt>
                <c:pt idx="2042">
                  <c:v>44225</c:v>
                </c:pt>
                <c:pt idx="2043">
                  <c:v>44228</c:v>
                </c:pt>
                <c:pt idx="2044">
                  <c:v>44229</c:v>
                </c:pt>
                <c:pt idx="2045">
                  <c:v>44230</c:v>
                </c:pt>
                <c:pt idx="2046">
                  <c:v>44231</c:v>
                </c:pt>
                <c:pt idx="2047">
                  <c:v>44232</c:v>
                </c:pt>
                <c:pt idx="2048">
                  <c:v>44235</c:v>
                </c:pt>
                <c:pt idx="2049">
                  <c:v>44236</c:v>
                </c:pt>
                <c:pt idx="2050">
                  <c:v>44237</c:v>
                </c:pt>
                <c:pt idx="2051">
                  <c:v>44238</c:v>
                </c:pt>
                <c:pt idx="2052">
                  <c:v>44239</c:v>
                </c:pt>
                <c:pt idx="2053">
                  <c:v>44242</c:v>
                </c:pt>
                <c:pt idx="2054">
                  <c:v>44243</c:v>
                </c:pt>
                <c:pt idx="2055">
                  <c:v>44244</c:v>
                </c:pt>
                <c:pt idx="2056">
                  <c:v>44245</c:v>
                </c:pt>
                <c:pt idx="2057">
                  <c:v>44246</c:v>
                </c:pt>
                <c:pt idx="2058">
                  <c:v>44249</c:v>
                </c:pt>
                <c:pt idx="2059">
                  <c:v>44250</c:v>
                </c:pt>
                <c:pt idx="2060">
                  <c:v>44251</c:v>
                </c:pt>
                <c:pt idx="2061">
                  <c:v>44252</c:v>
                </c:pt>
                <c:pt idx="2062">
                  <c:v>44253</c:v>
                </c:pt>
                <c:pt idx="2063">
                  <c:v>44256</c:v>
                </c:pt>
                <c:pt idx="2064">
                  <c:v>44257</c:v>
                </c:pt>
                <c:pt idx="2065">
                  <c:v>44258</c:v>
                </c:pt>
                <c:pt idx="2066">
                  <c:v>44259</c:v>
                </c:pt>
                <c:pt idx="2067">
                  <c:v>44260</c:v>
                </c:pt>
                <c:pt idx="2068">
                  <c:v>44263</c:v>
                </c:pt>
                <c:pt idx="2069">
                  <c:v>44264</c:v>
                </c:pt>
                <c:pt idx="2070">
                  <c:v>44265</c:v>
                </c:pt>
                <c:pt idx="2071">
                  <c:v>44266</c:v>
                </c:pt>
                <c:pt idx="2072">
                  <c:v>44267</c:v>
                </c:pt>
                <c:pt idx="2073">
                  <c:v>44270</c:v>
                </c:pt>
                <c:pt idx="2074">
                  <c:v>44271</c:v>
                </c:pt>
                <c:pt idx="2075">
                  <c:v>44272</c:v>
                </c:pt>
                <c:pt idx="2076">
                  <c:v>44273</c:v>
                </c:pt>
                <c:pt idx="2077">
                  <c:v>44274</c:v>
                </c:pt>
                <c:pt idx="2078">
                  <c:v>44277</c:v>
                </c:pt>
                <c:pt idx="2079">
                  <c:v>44278</c:v>
                </c:pt>
                <c:pt idx="2080">
                  <c:v>44279</c:v>
                </c:pt>
                <c:pt idx="2081">
                  <c:v>44280</c:v>
                </c:pt>
                <c:pt idx="2082">
                  <c:v>44281</c:v>
                </c:pt>
                <c:pt idx="2083">
                  <c:v>44284</c:v>
                </c:pt>
                <c:pt idx="2084">
                  <c:v>44285</c:v>
                </c:pt>
                <c:pt idx="2085">
                  <c:v>44286</c:v>
                </c:pt>
                <c:pt idx="2086">
                  <c:v>44287</c:v>
                </c:pt>
                <c:pt idx="2087">
                  <c:v>44288</c:v>
                </c:pt>
                <c:pt idx="2088">
                  <c:v>44291</c:v>
                </c:pt>
                <c:pt idx="2089">
                  <c:v>44292</c:v>
                </c:pt>
                <c:pt idx="2090">
                  <c:v>44293</c:v>
                </c:pt>
                <c:pt idx="2091">
                  <c:v>44294</c:v>
                </c:pt>
                <c:pt idx="2092">
                  <c:v>44295</c:v>
                </c:pt>
                <c:pt idx="2093">
                  <c:v>44298</c:v>
                </c:pt>
                <c:pt idx="2094">
                  <c:v>44299</c:v>
                </c:pt>
                <c:pt idx="2095">
                  <c:v>44300</c:v>
                </c:pt>
                <c:pt idx="2096">
                  <c:v>44301</c:v>
                </c:pt>
                <c:pt idx="2097">
                  <c:v>44302</c:v>
                </c:pt>
                <c:pt idx="2098">
                  <c:v>44305</c:v>
                </c:pt>
                <c:pt idx="2099">
                  <c:v>44306</c:v>
                </c:pt>
                <c:pt idx="2100">
                  <c:v>44307</c:v>
                </c:pt>
                <c:pt idx="2101">
                  <c:v>44308</c:v>
                </c:pt>
                <c:pt idx="2102">
                  <c:v>44309</c:v>
                </c:pt>
                <c:pt idx="2103">
                  <c:v>44312</c:v>
                </c:pt>
                <c:pt idx="2104">
                  <c:v>44313</c:v>
                </c:pt>
                <c:pt idx="2105">
                  <c:v>44314</c:v>
                </c:pt>
                <c:pt idx="2106">
                  <c:v>44315</c:v>
                </c:pt>
                <c:pt idx="2107">
                  <c:v>44316</c:v>
                </c:pt>
                <c:pt idx="2108">
                  <c:v>44319</c:v>
                </c:pt>
                <c:pt idx="2109">
                  <c:v>44320</c:v>
                </c:pt>
                <c:pt idx="2110">
                  <c:v>44321</c:v>
                </c:pt>
                <c:pt idx="2111">
                  <c:v>44322</c:v>
                </c:pt>
                <c:pt idx="2112">
                  <c:v>44323</c:v>
                </c:pt>
                <c:pt idx="2113">
                  <c:v>44326</c:v>
                </c:pt>
                <c:pt idx="2114">
                  <c:v>44327</c:v>
                </c:pt>
                <c:pt idx="2115">
                  <c:v>44328</c:v>
                </c:pt>
                <c:pt idx="2116">
                  <c:v>44329</c:v>
                </c:pt>
                <c:pt idx="2117">
                  <c:v>44330</c:v>
                </c:pt>
                <c:pt idx="2118">
                  <c:v>44333</c:v>
                </c:pt>
                <c:pt idx="2119">
                  <c:v>44334</c:v>
                </c:pt>
                <c:pt idx="2120">
                  <c:v>44335</c:v>
                </c:pt>
                <c:pt idx="2121">
                  <c:v>44336</c:v>
                </c:pt>
                <c:pt idx="2122">
                  <c:v>44337</c:v>
                </c:pt>
                <c:pt idx="2123">
                  <c:v>44340</c:v>
                </c:pt>
                <c:pt idx="2124">
                  <c:v>44341</c:v>
                </c:pt>
                <c:pt idx="2125">
                  <c:v>44342</c:v>
                </c:pt>
                <c:pt idx="2126">
                  <c:v>44343</c:v>
                </c:pt>
                <c:pt idx="2127">
                  <c:v>44344</c:v>
                </c:pt>
                <c:pt idx="2128">
                  <c:v>44347</c:v>
                </c:pt>
                <c:pt idx="2129">
                  <c:v>44348</c:v>
                </c:pt>
                <c:pt idx="2130">
                  <c:v>44349</c:v>
                </c:pt>
                <c:pt idx="2131">
                  <c:v>44350</c:v>
                </c:pt>
                <c:pt idx="2132">
                  <c:v>44351</c:v>
                </c:pt>
                <c:pt idx="2133">
                  <c:v>44354</c:v>
                </c:pt>
                <c:pt idx="2134">
                  <c:v>44355</c:v>
                </c:pt>
                <c:pt idx="2135">
                  <c:v>44356</c:v>
                </c:pt>
                <c:pt idx="2136">
                  <c:v>44357</c:v>
                </c:pt>
                <c:pt idx="2137">
                  <c:v>44358</c:v>
                </c:pt>
                <c:pt idx="2138">
                  <c:v>44361</c:v>
                </c:pt>
                <c:pt idx="2139">
                  <c:v>44362</c:v>
                </c:pt>
                <c:pt idx="2140">
                  <c:v>44363</c:v>
                </c:pt>
                <c:pt idx="2141">
                  <c:v>44364</c:v>
                </c:pt>
                <c:pt idx="2142">
                  <c:v>44365</c:v>
                </c:pt>
                <c:pt idx="2143">
                  <c:v>44368</c:v>
                </c:pt>
                <c:pt idx="2144">
                  <c:v>44369</c:v>
                </c:pt>
                <c:pt idx="2145">
                  <c:v>44370</c:v>
                </c:pt>
                <c:pt idx="2146">
                  <c:v>44371</c:v>
                </c:pt>
                <c:pt idx="2147">
                  <c:v>44372</c:v>
                </c:pt>
                <c:pt idx="2148">
                  <c:v>44375</c:v>
                </c:pt>
                <c:pt idx="2149">
                  <c:v>44376</c:v>
                </c:pt>
                <c:pt idx="2150">
                  <c:v>44377</c:v>
                </c:pt>
                <c:pt idx="2151">
                  <c:v>44378</c:v>
                </c:pt>
                <c:pt idx="2152">
                  <c:v>44379</c:v>
                </c:pt>
                <c:pt idx="2153">
                  <c:v>44382</c:v>
                </c:pt>
                <c:pt idx="2154">
                  <c:v>44383</c:v>
                </c:pt>
                <c:pt idx="2155">
                  <c:v>44384</c:v>
                </c:pt>
                <c:pt idx="2156">
                  <c:v>44385</c:v>
                </c:pt>
                <c:pt idx="2157">
                  <c:v>44386</c:v>
                </c:pt>
                <c:pt idx="2158">
                  <c:v>44389</c:v>
                </c:pt>
                <c:pt idx="2159">
                  <c:v>44390</c:v>
                </c:pt>
                <c:pt idx="2160">
                  <c:v>44391</c:v>
                </c:pt>
                <c:pt idx="2161">
                  <c:v>44392</c:v>
                </c:pt>
                <c:pt idx="2162">
                  <c:v>44393</c:v>
                </c:pt>
                <c:pt idx="2163">
                  <c:v>44396</c:v>
                </c:pt>
                <c:pt idx="2164">
                  <c:v>44397</c:v>
                </c:pt>
                <c:pt idx="2165">
                  <c:v>44398</c:v>
                </c:pt>
                <c:pt idx="2166">
                  <c:v>44399</c:v>
                </c:pt>
                <c:pt idx="2167">
                  <c:v>44400</c:v>
                </c:pt>
                <c:pt idx="2168">
                  <c:v>44403</c:v>
                </c:pt>
                <c:pt idx="2169">
                  <c:v>44404</c:v>
                </c:pt>
                <c:pt idx="2170">
                  <c:v>44405</c:v>
                </c:pt>
                <c:pt idx="2171">
                  <c:v>44406</c:v>
                </c:pt>
                <c:pt idx="2172">
                  <c:v>44407</c:v>
                </c:pt>
                <c:pt idx="2173">
                  <c:v>44410</c:v>
                </c:pt>
                <c:pt idx="2174">
                  <c:v>44411</c:v>
                </c:pt>
                <c:pt idx="2175">
                  <c:v>44412</c:v>
                </c:pt>
                <c:pt idx="2176">
                  <c:v>44413</c:v>
                </c:pt>
                <c:pt idx="2177">
                  <c:v>44414</c:v>
                </c:pt>
                <c:pt idx="2178">
                  <c:v>44417</c:v>
                </c:pt>
                <c:pt idx="2179">
                  <c:v>44418</c:v>
                </c:pt>
                <c:pt idx="2180">
                  <c:v>44419</c:v>
                </c:pt>
                <c:pt idx="2181">
                  <c:v>44420</c:v>
                </c:pt>
                <c:pt idx="2182">
                  <c:v>44421</c:v>
                </c:pt>
                <c:pt idx="2183">
                  <c:v>44424</c:v>
                </c:pt>
                <c:pt idx="2184">
                  <c:v>44425</c:v>
                </c:pt>
                <c:pt idx="2185">
                  <c:v>44426</c:v>
                </c:pt>
                <c:pt idx="2186">
                  <c:v>44427</c:v>
                </c:pt>
                <c:pt idx="2187">
                  <c:v>44428</c:v>
                </c:pt>
                <c:pt idx="2188">
                  <c:v>44431</c:v>
                </c:pt>
                <c:pt idx="2189">
                  <c:v>44432</c:v>
                </c:pt>
                <c:pt idx="2190">
                  <c:v>44433</c:v>
                </c:pt>
                <c:pt idx="2191">
                  <c:v>44434</c:v>
                </c:pt>
                <c:pt idx="2192">
                  <c:v>44435</c:v>
                </c:pt>
                <c:pt idx="2193">
                  <c:v>44438</c:v>
                </c:pt>
                <c:pt idx="2194">
                  <c:v>44439</c:v>
                </c:pt>
                <c:pt idx="2195">
                  <c:v>44440</c:v>
                </c:pt>
                <c:pt idx="2196">
                  <c:v>44441</c:v>
                </c:pt>
                <c:pt idx="2197">
                  <c:v>44442</c:v>
                </c:pt>
                <c:pt idx="2198">
                  <c:v>44445</c:v>
                </c:pt>
                <c:pt idx="2199">
                  <c:v>44446</c:v>
                </c:pt>
                <c:pt idx="2200">
                  <c:v>44447</c:v>
                </c:pt>
                <c:pt idx="2201">
                  <c:v>44448</c:v>
                </c:pt>
                <c:pt idx="2202">
                  <c:v>44449</c:v>
                </c:pt>
                <c:pt idx="2203">
                  <c:v>44452</c:v>
                </c:pt>
                <c:pt idx="2204">
                  <c:v>44453</c:v>
                </c:pt>
                <c:pt idx="2205">
                  <c:v>44454</c:v>
                </c:pt>
                <c:pt idx="2206">
                  <c:v>44455</c:v>
                </c:pt>
                <c:pt idx="2207">
                  <c:v>44456</c:v>
                </c:pt>
                <c:pt idx="2208">
                  <c:v>44459</c:v>
                </c:pt>
                <c:pt idx="2209">
                  <c:v>44460</c:v>
                </c:pt>
                <c:pt idx="2210">
                  <c:v>44461</c:v>
                </c:pt>
                <c:pt idx="2211">
                  <c:v>44462</c:v>
                </c:pt>
                <c:pt idx="2212">
                  <c:v>44463</c:v>
                </c:pt>
                <c:pt idx="2213">
                  <c:v>44466</c:v>
                </c:pt>
                <c:pt idx="2214">
                  <c:v>44467</c:v>
                </c:pt>
                <c:pt idx="2215">
                  <c:v>44468</c:v>
                </c:pt>
                <c:pt idx="2216">
                  <c:v>44469</c:v>
                </c:pt>
                <c:pt idx="2217">
                  <c:v>44470</c:v>
                </c:pt>
                <c:pt idx="2218">
                  <c:v>44473</c:v>
                </c:pt>
                <c:pt idx="2219">
                  <c:v>44474</c:v>
                </c:pt>
                <c:pt idx="2220">
                  <c:v>44475</c:v>
                </c:pt>
                <c:pt idx="2221">
                  <c:v>44476</c:v>
                </c:pt>
                <c:pt idx="2222">
                  <c:v>44477</c:v>
                </c:pt>
                <c:pt idx="2223">
                  <c:v>44480</c:v>
                </c:pt>
                <c:pt idx="2224">
                  <c:v>44481</c:v>
                </c:pt>
                <c:pt idx="2225">
                  <c:v>44482</c:v>
                </c:pt>
                <c:pt idx="2226">
                  <c:v>44483</c:v>
                </c:pt>
                <c:pt idx="2227">
                  <c:v>44484</c:v>
                </c:pt>
                <c:pt idx="2228">
                  <c:v>44487</c:v>
                </c:pt>
                <c:pt idx="2229">
                  <c:v>44488</c:v>
                </c:pt>
                <c:pt idx="2230">
                  <c:v>44489</c:v>
                </c:pt>
                <c:pt idx="2231">
                  <c:v>44490</c:v>
                </c:pt>
                <c:pt idx="2232">
                  <c:v>44491</c:v>
                </c:pt>
                <c:pt idx="2233">
                  <c:v>44494</c:v>
                </c:pt>
                <c:pt idx="2234">
                  <c:v>44495</c:v>
                </c:pt>
                <c:pt idx="2235">
                  <c:v>44496</c:v>
                </c:pt>
                <c:pt idx="2236">
                  <c:v>44497</c:v>
                </c:pt>
                <c:pt idx="2237">
                  <c:v>44498</c:v>
                </c:pt>
                <c:pt idx="2238">
                  <c:v>44501</c:v>
                </c:pt>
                <c:pt idx="2239">
                  <c:v>44502</c:v>
                </c:pt>
                <c:pt idx="2240">
                  <c:v>44503</c:v>
                </c:pt>
                <c:pt idx="2241">
                  <c:v>44504</c:v>
                </c:pt>
                <c:pt idx="2242">
                  <c:v>44505</c:v>
                </c:pt>
                <c:pt idx="2243">
                  <c:v>44508</c:v>
                </c:pt>
                <c:pt idx="2244">
                  <c:v>44509</c:v>
                </c:pt>
                <c:pt idx="2245">
                  <c:v>44510</c:v>
                </c:pt>
                <c:pt idx="2246">
                  <c:v>44511</c:v>
                </c:pt>
                <c:pt idx="2247">
                  <c:v>44512</c:v>
                </c:pt>
                <c:pt idx="2248">
                  <c:v>44515</c:v>
                </c:pt>
                <c:pt idx="2249">
                  <c:v>44516</c:v>
                </c:pt>
                <c:pt idx="2250">
                  <c:v>44517</c:v>
                </c:pt>
                <c:pt idx="2251">
                  <c:v>44518</c:v>
                </c:pt>
                <c:pt idx="2252">
                  <c:v>44519</c:v>
                </c:pt>
                <c:pt idx="2253">
                  <c:v>44522</c:v>
                </c:pt>
                <c:pt idx="2254">
                  <c:v>44523</c:v>
                </c:pt>
                <c:pt idx="2255">
                  <c:v>44524</c:v>
                </c:pt>
                <c:pt idx="2256">
                  <c:v>44525</c:v>
                </c:pt>
                <c:pt idx="2257">
                  <c:v>44526</c:v>
                </c:pt>
                <c:pt idx="2258">
                  <c:v>44529</c:v>
                </c:pt>
                <c:pt idx="2259">
                  <c:v>44530</c:v>
                </c:pt>
                <c:pt idx="2260">
                  <c:v>44531</c:v>
                </c:pt>
                <c:pt idx="2261">
                  <c:v>44532</c:v>
                </c:pt>
                <c:pt idx="2262">
                  <c:v>44533</c:v>
                </c:pt>
                <c:pt idx="2263">
                  <c:v>44536</c:v>
                </c:pt>
                <c:pt idx="2264">
                  <c:v>44537</c:v>
                </c:pt>
                <c:pt idx="2265">
                  <c:v>44538</c:v>
                </c:pt>
                <c:pt idx="2266">
                  <c:v>44539</c:v>
                </c:pt>
                <c:pt idx="2267">
                  <c:v>44540</c:v>
                </c:pt>
                <c:pt idx="2268">
                  <c:v>44543</c:v>
                </c:pt>
                <c:pt idx="2269">
                  <c:v>44544</c:v>
                </c:pt>
                <c:pt idx="2270">
                  <c:v>44545</c:v>
                </c:pt>
                <c:pt idx="2271">
                  <c:v>44546</c:v>
                </c:pt>
                <c:pt idx="2272">
                  <c:v>44547</c:v>
                </c:pt>
                <c:pt idx="2273">
                  <c:v>44550</c:v>
                </c:pt>
                <c:pt idx="2274">
                  <c:v>44551</c:v>
                </c:pt>
                <c:pt idx="2275">
                  <c:v>44552</c:v>
                </c:pt>
                <c:pt idx="2276">
                  <c:v>44553</c:v>
                </c:pt>
                <c:pt idx="2277">
                  <c:v>44554</c:v>
                </c:pt>
                <c:pt idx="2278">
                  <c:v>44557</c:v>
                </c:pt>
                <c:pt idx="2279">
                  <c:v>44558</c:v>
                </c:pt>
                <c:pt idx="2280">
                  <c:v>44559</c:v>
                </c:pt>
                <c:pt idx="2281">
                  <c:v>44560</c:v>
                </c:pt>
                <c:pt idx="2282">
                  <c:v>44561</c:v>
                </c:pt>
                <c:pt idx="2283">
                  <c:v>44564</c:v>
                </c:pt>
                <c:pt idx="2284">
                  <c:v>44565</c:v>
                </c:pt>
                <c:pt idx="2285">
                  <c:v>44566</c:v>
                </c:pt>
                <c:pt idx="2286">
                  <c:v>44567</c:v>
                </c:pt>
                <c:pt idx="2287">
                  <c:v>44568</c:v>
                </c:pt>
                <c:pt idx="2288">
                  <c:v>44571</c:v>
                </c:pt>
                <c:pt idx="2289">
                  <c:v>44572</c:v>
                </c:pt>
                <c:pt idx="2290">
                  <c:v>44573</c:v>
                </c:pt>
                <c:pt idx="2291">
                  <c:v>44574</c:v>
                </c:pt>
                <c:pt idx="2292">
                  <c:v>44575</c:v>
                </c:pt>
                <c:pt idx="2293">
                  <c:v>44578</c:v>
                </c:pt>
                <c:pt idx="2294">
                  <c:v>44579</c:v>
                </c:pt>
                <c:pt idx="2295">
                  <c:v>44580</c:v>
                </c:pt>
                <c:pt idx="2296">
                  <c:v>44581</c:v>
                </c:pt>
                <c:pt idx="2297">
                  <c:v>44582</c:v>
                </c:pt>
                <c:pt idx="2298">
                  <c:v>44585</c:v>
                </c:pt>
                <c:pt idx="2299">
                  <c:v>44586</c:v>
                </c:pt>
                <c:pt idx="2300">
                  <c:v>44587</c:v>
                </c:pt>
                <c:pt idx="2301">
                  <c:v>44588</c:v>
                </c:pt>
                <c:pt idx="2302">
                  <c:v>44589</c:v>
                </c:pt>
                <c:pt idx="2303">
                  <c:v>44592</c:v>
                </c:pt>
                <c:pt idx="2304">
                  <c:v>44593</c:v>
                </c:pt>
                <c:pt idx="2305">
                  <c:v>44594</c:v>
                </c:pt>
                <c:pt idx="2306">
                  <c:v>44595</c:v>
                </c:pt>
                <c:pt idx="2307">
                  <c:v>44596</c:v>
                </c:pt>
                <c:pt idx="2308">
                  <c:v>44599</c:v>
                </c:pt>
                <c:pt idx="2309">
                  <c:v>44600</c:v>
                </c:pt>
                <c:pt idx="2310">
                  <c:v>44601</c:v>
                </c:pt>
                <c:pt idx="2311">
                  <c:v>44602</c:v>
                </c:pt>
                <c:pt idx="2312">
                  <c:v>44603</c:v>
                </c:pt>
                <c:pt idx="2313">
                  <c:v>44606</c:v>
                </c:pt>
                <c:pt idx="2314">
                  <c:v>44607</c:v>
                </c:pt>
                <c:pt idx="2315">
                  <c:v>44608</c:v>
                </c:pt>
                <c:pt idx="2316">
                  <c:v>44609</c:v>
                </c:pt>
                <c:pt idx="2317">
                  <c:v>44610</c:v>
                </c:pt>
                <c:pt idx="2318">
                  <c:v>44613</c:v>
                </c:pt>
                <c:pt idx="2319">
                  <c:v>44614</c:v>
                </c:pt>
                <c:pt idx="2320">
                  <c:v>44615</c:v>
                </c:pt>
                <c:pt idx="2321">
                  <c:v>44616</c:v>
                </c:pt>
                <c:pt idx="2322">
                  <c:v>44617</c:v>
                </c:pt>
                <c:pt idx="2323">
                  <c:v>44620</c:v>
                </c:pt>
                <c:pt idx="2324">
                  <c:v>44621</c:v>
                </c:pt>
                <c:pt idx="2325">
                  <c:v>44622</c:v>
                </c:pt>
                <c:pt idx="2326">
                  <c:v>44623</c:v>
                </c:pt>
                <c:pt idx="2327">
                  <c:v>44624</c:v>
                </c:pt>
                <c:pt idx="2328">
                  <c:v>44627</c:v>
                </c:pt>
                <c:pt idx="2329">
                  <c:v>44628</c:v>
                </c:pt>
                <c:pt idx="2330">
                  <c:v>44629</c:v>
                </c:pt>
                <c:pt idx="2331">
                  <c:v>44630</c:v>
                </c:pt>
                <c:pt idx="2332">
                  <c:v>44631</c:v>
                </c:pt>
                <c:pt idx="2333">
                  <c:v>44634</c:v>
                </c:pt>
                <c:pt idx="2334">
                  <c:v>44635</c:v>
                </c:pt>
                <c:pt idx="2335">
                  <c:v>44636</c:v>
                </c:pt>
                <c:pt idx="2336">
                  <c:v>44637</c:v>
                </c:pt>
                <c:pt idx="2337">
                  <c:v>44638</c:v>
                </c:pt>
                <c:pt idx="2338">
                  <c:v>44641</c:v>
                </c:pt>
                <c:pt idx="2339">
                  <c:v>44642</c:v>
                </c:pt>
                <c:pt idx="2340">
                  <c:v>44643</c:v>
                </c:pt>
                <c:pt idx="2341">
                  <c:v>44644</c:v>
                </c:pt>
                <c:pt idx="2342">
                  <c:v>44645</c:v>
                </c:pt>
                <c:pt idx="2343">
                  <c:v>44648</c:v>
                </c:pt>
                <c:pt idx="2344">
                  <c:v>44649</c:v>
                </c:pt>
                <c:pt idx="2345">
                  <c:v>44650</c:v>
                </c:pt>
                <c:pt idx="2346">
                  <c:v>44651</c:v>
                </c:pt>
                <c:pt idx="2347">
                  <c:v>44652</c:v>
                </c:pt>
                <c:pt idx="2348">
                  <c:v>44655</c:v>
                </c:pt>
                <c:pt idx="2349">
                  <c:v>44656</c:v>
                </c:pt>
                <c:pt idx="2350">
                  <c:v>44657</c:v>
                </c:pt>
                <c:pt idx="2351">
                  <c:v>44658</c:v>
                </c:pt>
                <c:pt idx="2352">
                  <c:v>44659</c:v>
                </c:pt>
                <c:pt idx="2353">
                  <c:v>44662</c:v>
                </c:pt>
                <c:pt idx="2354">
                  <c:v>44663</c:v>
                </c:pt>
                <c:pt idx="2355">
                  <c:v>44664</c:v>
                </c:pt>
                <c:pt idx="2356">
                  <c:v>44665</c:v>
                </c:pt>
                <c:pt idx="2357">
                  <c:v>44666</c:v>
                </c:pt>
                <c:pt idx="2358">
                  <c:v>44669</c:v>
                </c:pt>
                <c:pt idx="2359">
                  <c:v>44670</c:v>
                </c:pt>
                <c:pt idx="2360">
                  <c:v>44671</c:v>
                </c:pt>
                <c:pt idx="2361">
                  <c:v>44672</c:v>
                </c:pt>
                <c:pt idx="2362">
                  <c:v>44673</c:v>
                </c:pt>
                <c:pt idx="2363">
                  <c:v>44676</c:v>
                </c:pt>
                <c:pt idx="2364">
                  <c:v>44677</c:v>
                </c:pt>
                <c:pt idx="2365">
                  <c:v>44678</c:v>
                </c:pt>
                <c:pt idx="2366">
                  <c:v>44679</c:v>
                </c:pt>
                <c:pt idx="2367">
                  <c:v>44680</c:v>
                </c:pt>
                <c:pt idx="2368">
                  <c:v>44683</c:v>
                </c:pt>
                <c:pt idx="2369">
                  <c:v>44684</c:v>
                </c:pt>
                <c:pt idx="2370">
                  <c:v>44685</c:v>
                </c:pt>
                <c:pt idx="2371">
                  <c:v>44686</c:v>
                </c:pt>
                <c:pt idx="2372">
                  <c:v>44687</c:v>
                </c:pt>
                <c:pt idx="2373">
                  <c:v>44690</c:v>
                </c:pt>
                <c:pt idx="2374">
                  <c:v>44691</c:v>
                </c:pt>
                <c:pt idx="2375">
                  <c:v>44692</c:v>
                </c:pt>
                <c:pt idx="2376">
                  <c:v>44693</c:v>
                </c:pt>
                <c:pt idx="2377">
                  <c:v>44694</c:v>
                </c:pt>
                <c:pt idx="2378">
                  <c:v>44697</c:v>
                </c:pt>
                <c:pt idx="2379">
                  <c:v>44698</c:v>
                </c:pt>
                <c:pt idx="2380">
                  <c:v>44699</c:v>
                </c:pt>
                <c:pt idx="2381">
                  <c:v>44700</c:v>
                </c:pt>
                <c:pt idx="2382">
                  <c:v>44701</c:v>
                </c:pt>
                <c:pt idx="2383">
                  <c:v>44704</c:v>
                </c:pt>
                <c:pt idx="2384">
                  <c:v>44705</c:v>
                </c:pt>
                <c:pt idx="2385">
                  <c:v>44706</c:v>
                </c:pt>
                <c:pt idx="2386">
                  <c:v>44707</c:v>
                </c:pt>
                <c:pt idx="2387">
                  <c:v>44708</c:v>
                </c:pt>
                <c:pt idx="2388">
                  <c:v>44711</c:v>
                </c:pt>
                <c:pt idx="2389">
                  <c:v>44712</c:v>
                </c:pt>
                <c:pt idx="2390">
                  <c:v>44713</c:v>
                </c:pt>
                <c:pt idx="2391">
                  <c:v>44714</c:v>
                </c:pt>
                <c:pt idx="2392">
                  <c:v>44715</c:v>
                </c:pt>
                <c:pt idx="2393">
                  <c:v>44718</c:v>
                </c:pt>
                <c:pt idx="2394">
                  <c:v>44719</c:v>
                </c:pt>
                <c:pt idx="2395">
                  <c:v>44720</c:v>
                </c:pt>
                <c:pt idx="2396">
                  <c:v>44721</c:v>
                </c:pt>
                <c:pt idx="2397">
                  <c:v>44722</c:v>
                </c:pt>
                <c:pt idx="2398">
                  <c:v>44725</c:v>
                </c:pt>
                <c:pt idx="2399">
                  <c:v>44726</c:v>
                </c:pt>
                <c:pt idx="2400">
                  <c:v>44727</c:v>
                </c:pt>
                <c:pt idx="2401">
                  <c:v>44728</c:v>
                </c:pt>
                <c:pt idx="2402">
                  <c:v>44729</c:v>
                </c:pt>
                <c:pt idx="2403">
                  <c:v>44732</c:v>
                </c:pt>
                <c:pt idx="2404">
                  <c:v>44733</c:v>
                </c:pt>
                <c:pt idx="2405">
                  <c:v>44734</c:v>
                </c:pt>
                <c:pt idx="2406">
                  <c:v>44735</c:v>
                </c:pt>
                <c:pt idx="2407">
                  <c:v>44736</c:v>
                </c:pt>
                <c:pt idx="2408">
                  <c:v>44739</c:v>
                </c:pt>
                <c:pt idx="2409">
                  <c:v>44740</c:v>
                </c:pt>
                <c:pt idx="2410">
                  <c:v>44741</c:v>
                </c:pt>
                <c:pt idx="2411">
                  <c:v>44742</c:v>
                </c:pt>
                <c:pt idx="2412">
                  <c:v>44743</c:v>
                </c:pt>
                <c:pt idx="2413">
                  <c:v>44746</c:v>
                </c:pt>
                <c:pt idx="2414">
                  <c:v>44747</c:v>
                </c:pt>
                <c:pt idx="2415">
                  <c:v>44748</c:v>
                </c:pt>
                <c:pt idx="2416">
                  <c:v>44749</c:v>
                </c:pt>
                <c:pt idx="2417">
                  <c:v>44750</c:v>
                </c:pt>
                <c:pt idx="2418">
                  <c:v>44753</c:v>
                </c:pt>
                <c:pt idx="2419">
                  <c:v>44754</c:v>
                </c:pt>
                <c:pt idx="2420">
                  <c:v>44755</c:v>
                </c:pt>
                <c:pt idx="2421">
                  <c:v>44756</c:v>
                </c:pt>
                <c:pt idx="2422">
                  <c:v>44757</c:v>
                </c:pt>
                <c:pt idx="2423">
                  <c:v>44760</c:v>
                </c:pt>
                <c:pt idx="2424">
                  <c:v>44761</c:v>
                </c:pt>
                <c:pt idx="2425">
                  <c:v>44762</c:v>
                </c:pt>
                <c:pt idx="2426">
                  <c:v>44763</c:v>
                </c:pt>
                <c:pt idx="2427">
                  <c:v>44764</c:v>
                </c:pt>
                <c:pt idx="2428">
                  <c:v>44767</c:v>
                </c:pt>
                <c:pt idx="2429">
                  <c:v>44768</c:v>
                </c:pt>
                <c:pt idx="2430">
                  <c:v>44769</c:v>
                </c:pt>
                <c:pt idx="2431">
                  <c:v>44770</c:v>
                </c:pt>
                <c:pt idx="2432">
                  <c:v>44771</c:v>
                </c:pt>
                <c:pt idx="2433">
                  <c:v>44774</c:v>
                </c:pt>
                <c:pt idx="2434">
                  <c:v>44775</c:v>
                </c:pt>
                <c:pt idx="2435">
                  <c:v>44776</c:v>
                </c:pt>
                <c:pt idx="2436">
                  <c:v>44777</c:v>
                </c:pt>
                <c:pt idx="2437">
                  <c:v>44778</c:v>
                </c:pt>
                <c:pt idx="2438">
                  <c:v>44781</c:v>
                </c:pt>
                <c:pt idx="2439">
                  <c:v>44782</c:v>
                </c:pt>
                <c:pt idx="2440">
                  <c:v>44783</c:v>
                </c:pt>
                <c:pt idx="2441">
                  <c:v>44784</c:v>
                </c:pt>
                <c:pt idx="2442">
                  <c:v>44785</c:v>
                </c:pt>
                <c:pt idx="2443">
                  <c:v>44788</c:v>
                </c:pt>
                <c:pt idx="2444">
                  <c:v>44789</c:v>
                </c:pt>
                <c:pt idx="2445">
                  <c:v>44790</c:v>
                </c:pt>
                <c:pt idx="2446">
                  <c:v>44791</c:v>
                </c:pt>
                <c:pt idx="2447">
                  <c:v>44792</c:v>
                </c:pt>
                <c:pt idx="2448">
                  <c:v>44795</c:v>
                </c:pt>
                <c:pt idx="2449">
                  <c:v>44796</c:v>
                </c:pt>
                <c:pt idx="2450">
                  <c:v>44797</c:v>
                </c:pt>
                <c:pt idx="2451">
                  <c:v>44798</c:v>
                </c:pt>
                <c:pt idx="2452">
                  <c:v>44799</c:v>
                </c:pt>
                <c:pt idx="2453">
                  <c:v>44802</c:v>
                </c:pt>
                <c:pt idx="2454">
                  <c:v>44803</c:v>
                </c:pt>
                <c:pt idx="2455">
                  <c:v>44804</c:v>
                </c:pt>
                <c:pt idx="2456">
                  <c:v>44805</c:v>
                </c:pt>
                <c:pt idx="2457">
                  <c:v>44806</c:v>
                </c:pt>
                <c:pt idx="2458">
                  <c:v>44809</c:v>
                </c:pt>
                <c:pt idx="2459">
                  <c:v>44810</c:v>
                </c:pt>
                <c:pt idx="2460">
                  <c:v>44811</c:v>
                </c:pt>
                <c:pt idx="2461">
                  <c:v>44812</c:v>
                </c:pt>
                <c:pt idx="2462">
                  <c:v>44813</c:v>
                </c:pt>
                <c:pt idx="2463">
                  <c:v>44816</c:v>
                </c:pt>
                <c:pt idx="2464">
                  <c:v>44817</c:v>
                </c:pt>
                <c:pt idx="2465">
                  <c:v>44818</c:v>
                </c:pt>
                <c:pt idx="2466">
                  <c:v>44819</c:v>
                </c:pt>
                <c:pt idx="2467">
                  <c:v>44820</c:v>
                </c:pt>
                <c:pt idx="2468">
                  <c:v>44823</c:v>
                </c:pt>
                <c:pt idx="2469">
                  <c:v>44824</c:v>
                </c:pt>
                <c:pt idx="2470">
                  <c:v>44825</c:v>
                </c:pt>
                <c:pt idx="2471">
                  <c:v>44826</c:v>
                </c:pt>
                <c:pt idx="2472">
                  <c:v>44827</c:v>
                </c:pt>
                <c:pt idx="2473">
                  <c:v>44830</c:v>
                </c:pt>
                <c:pt idx="2474">
                  <c:v>44831</c:v>
                </c:pt>
                <c:pt idx="2475">
                  <c:v>44832</c:v>
                </c:pt>
                <c:pt idx="2476">
                  <c:v>44833</c:v>
                </c:pt>
                <c:pt idx="2477">
                  <c:v>44834</c:v>
                </c:pt>
                <c:pt idx="2478">
                  <c:v>44837</c:v>
                </c:pt>
                <c:pt idx="2479">
                  <c:v>44838</c:v>
                </c:pt>
                <c:pt idx="2480">
                  <c:v>44839</c:v>
                </c:pt>
                <c:pt idx="2481">
                  <c:v>44840</c:v>
                </c:pt>
                <c:pt idx="2482">
                  <c:v>44841</c:v>
                </c:pt>
                <c:pt idx="2483">
                  <c:v>44844</c:v>
                </c:pt>
                <c:pt idx="2484">
                  <c:v>44845</c:v>
                </c:pt>
                <c:pt idx="2485">
                  <c:v>44846</c:v>
                </c:pt>
                <c:pt idx="2486">
                  <c:v>44847</c:v>
                </c:pt>
                <c:pt idx="2487">
                  <c:v>44848</c:v>
                </c:pt>
                <c:pt idx="2488">
                  <c:v>44851</c:v>
                </c:pt>
                <c:pt idx="2489">
                  <c:v>44852</c:v>
                </c:pt>
                <c:pt idx="2490">
                  <c:v>44853</c:v>
                </c:pt>
                <c:pt idx="2491">
                  <c:v>44854</c:v>
                </c:pt>
                <c:pt idx="2492">
                  <c:v>44855</c:v>
                </c:pt>
                <c:pt idx="2493">
                  <c:v>44858</c:v>
                </c:pt>
                <c:pt idx="2494">
                  <c:v>44859</c:v>
                </c:pt>
                <c:pt idx="2495">
                  <c:v>44860</c:v>
                </c:pt>
                <c:pt idx="2496">
                  <c:v>44861</c:v>
                </c:pt>
                <c:pt idx="2497">
                  <c:v>44862</c:v>
                </c:pt>
                <c:pt idx="2498">
                  <c:v>44865</c:v>
                </c:pt>
                <c:pt idx="2499">
                  <c:v>44866</c:v>
                </c:pt>
                <c:pt idx="2500">
                  <c:v>44867</c:v>
                </c:pt>
                <c:pt idx="2501">
                  <c:v>44868</c:v>
                </c:pt>
                <c:pt idx="2502">
                  <c:v>44869</c:v>
                </c:pt>
                <c:pt idx="2503">
                  <c:v>44872</c:v>
                </c:pt>
                <c:pt idx="2504">
                  <c:v>44873</c:v>
                </c:pt>
                <c:pt idx="2505">
                  <c:v>44874</c:v>
                </c:pt>
                <c:pt idx="2506">
                  <c:v>44875</c:v>
                </c:pt>
                <c:pt idx="2507">
                  <c:v>44876</c:v>
                </c:pt>
                <c:pt idx="2508">
                  <c:v>44879</c:v>
                </c:pt>
                <c:pt idx="2509">
                  <c:v>44880</c:v>
                </c:pt>
                <c:pt idx="2510">
                  <c:v>44881</c:v>
                </c:pt>
                <c:pt idx="2511">
                  <c:v>44882</c:v>
                </c:pt>
                <c:pt idx="2512">
                  <c:v>44883</c:v>
                </c:pt>
                <c:pt idx="2513">
                  <c:v>44886</c:v>
                </c:pt>
                <c:pt idx="2514">
                  <c:v>44887</c:v>
                </c:pt>
                <c:pt idx="2515">
                  <c:v>44888</c:v>
                </c:pt>
                <c:pt idx="2516">
                  <c:v>44889</c:v>
                </c:pt>
                <c:pt idx="2517">
                  <c:v>44890</c:v>
                </c:pt>
                <c:pt idx="2518">
                  <c:v>44893</c:v>
                </c:pt>
                <c:pt idx="2519">
                  <c:v>44894</c:v>
                </c:pt>
                <c:pt idx="2520">
                  <c:v>44895</c:v>
                </c:pt>
                <c:pt idx="2521">
                  <c:v>44896</c:v>
                </c:pt>
                <c:pt idx="2522">
                  <c:v>44897</c:v>
                </c:pt>
                <c:pt idx="2523">
                  <c:v>44900</c:v>
                </c:pt>
                <c:pt idx="2524">
                  <c:v>44901</c:v>
                </c:pt>
                <c:pt idx="2525">
                  <c:v>44902</c:v>
                </c:pt>
                <c:pt idx="2526">
                  <c:v>44903</c:v>
                </c:pt>
                <c:pt idx="2527">
                  <c:v>44904</c:v>
                </c:pt>
                <c:pt idx="2528">
                  <c:v>44907</c:v>
                </c:pt>
                <c:pt idx="2529">
                  <c:v>44908</c:v>
                </c:pt>
                <c:pt idx="2530">
                  <c:v>44909</c:v>
                </c:pt>
                <c:pt idx="2531">
                  <c:v>44910</c:v>
                </c:pt>
                <c:pt idx="2532">
                  <c:v>44911</c:v>
                </c:pt>
                <c:pt idx="2533">
                  <c:v>44914</c:v>
                </c:pt>
                <c:pt idx="2534">
                  <c:v>44915</c:v>
                </c:pt>
                <c:pt idx="2535">
                  <c:v>44916</c:v>
                </c:pt>
                <c:pt idx="2536">
                  <c:v>44917</c:v>
                </c:pt>
                <c:pt idx="2537">
                  <c:v>44918</c:v>
                </c:pt>
                <c:pt idx="2538">
                  <c:v>44921</c:v>
                </c:pt>
                <c:pt idx="2539">
                  <c:v>44922</c:v>
                </c:pt>
                <c:pt idx="2540">
                  <c:v>44923</c:v>
                </c:pt>
                <c:pt idx="2541">
                  <c:v>44924</c:v>
                </c:pt>
                <c:pt idx="2542">
                  <c:v>44925</c:v>
                </c:pt>
                <c:pt idx="2543">
                  <c:v>44928</c:v>
                </c:pt>
                <c:pt idx="2544">
                  <c:v>44929</c:v>
                </c:pt>
                <c:pt idx="2545">
                  <c:v>44930</c:v>
                </c:pt>
                <c:pt idx="2546">
                  <c:v>44931</c:v>
                </c:pt>
                <c:pt idx="2547">
                  <c:v>44932</c:v>
                </c:pt>
                <c:pt idx="2548">
                  <c:v>44935</c:v>
                </c:pt>
                <c:pt idx="2549">
                  <c:v>44936</c:v>
                </c:pt>
                <c:pt idx="2550">
                  <c:v>44937</c:v>
                </c:pt>
                <c:pt idx="2551">
                  <c:v>44938</c:v>
                </c:pt>
                <c:pt idx="2552">
                  <c:v>44939</c:v>
                </c:pt>
                <c:pt idx="2553">
                  <c:v>44942</c:v>
                </c:pt>
                <c:pt idx="2554">
                  <c:v>44943</c:v>
                </c:pt>
                <c:pt idx="2555">
                  <c:v>44944</c:v>
                </c:pt>
                <c:pt idx="2556">
                  <c:v>44945</c:v>
                </c:pt>
                <c:pt idx="2557">
                  <c:v>44946</c:v>
                </c:pt>
                <c:pt idx="2558">
                  <c:v>44949</c:v>
                </c:pt>
                <c:pt idx="2559">
                  <c:v>44950</c:v>
                </c:pt>
                <c:pt idx="2560">
                  <c:v>44951</c:v>
                </c:pt>
                <c:pt idx="2561">
                  <c:v>44952</c:v>
                </c:pt>
                <c:pt idx="2562">
                  <c:v>44953</c:v>
                </c:pt>
                <c:pt idx="2563">
                  <c:v>44956</c:v>
                </c:pt>
                <c:pt idx="2564">
                  <c:v>44957</c:v>
                </c:pt>
                <c:pt idx="2565">
                  <c:v>44958</c:v>
                </c:pt>
                <c:pt idx="2566">
                  <c:v>44959</c:v>
                </c:pt>
                <c:pt idx="2567">
                  <c:v>44960</c:v>
                </c:pt>
                <c:pt idx="2568">
                  <c:v>44963</c:v>
                </c:pt>
                <c:pt idx="2569">
                  <c:v>44964</c:v>
                </c:pt>
                <c:pt idx="2570">
                  <c:v>44965</c:v>
                </c:pt>
                <c:pt idx="2571">
                  <c:v>44966</c:v>
                </c:pt>
                <c:pt idx="2572">
                  <c:v>44967</c:v>
                </c:pt>
                <c:pt idx="2573">
                  <c:v>44970</c:v>
                </c:pt>
                <c:pt idx="2574">
                  <c:v>44971</c:v>
                </c:pt>
                <c:pt idx="2575">
                  <c:v>44972</c:v>
                </c:pt>
                <c:pt idx="2576">
                  <c:v>44973</c:v>
                </c:pt>
                <c:pt idx="2577">
                  <c:v>44974</c:v>
                </c:pt>
                <c:pt idx="2578">
                  <c:v>44977</c:v>
                </c:pt>
                <c:pt idx="2579">
                  <c:v>44978</c:v>
                </c:pt>
                <c:pt idx="2580">
                  <c:v>44979</c:v>
                </c:pt>
                <c:pt idx="2581">
                  <c:v>44980</c:v>
                </c:pt>
                <c:pt idx="2582">
                  <c:v>44981</c:v>
                </c:pt>
                <c:pt idx="2583">
                  <c:v>44984</c:v>
                </c:pt>
                <c:pt idx="2584">
                  <c:v>44985</c:v>
                </c:pt>
                <c:pt idx="2585">
                  <c:v>44986</c:v>
                </c:pt>
                <c:pt idx="2586">
                  <c:v>44987</c:v>
                </c:pt>
                <c:pt idx="2587">
                  <c:v>44988</c:v>
                </c:pt>
                <c:pt idx="2588">
                  <c:v>44991</c:v>
                </c:pt>
                <c:pt idx="2589">
                  <c:v>44992</c:v>
                </c:pt>
                <c:pt idx="2590">
                  <c:v>44993</c:v>
                </c:pt>
                <c:pt idx="2591">
                  <c:v>44994</c:v>
                </c:pt>
                <c:pt idx="2592">
                  <c:v>44995</c:v>
                </c:pt>
                <c:pt idx="2593">
                  <c:v>44998</c:v>
                </c:pt>
                <c:pt idx="2594">
                  <c:v>44999</c:v>
                </c:pt>
                <c:pt idx="2595">
                  <c:v>45000</c:v>
                </c:pt>
                <c:pt idx="2596">
                  <c:v>45001</c:v>
                </c:pt>
                <c:pt idx="2597">
                  <c:v>45002</c:v>
                </c:pt>
                <c:pt idx="2598">
                  <c:v>45005</c:v>
                </c:pt>
                <c:pt idx="2599">
                  <c:v>45006</c:v>
                </c:pt>
                <c:pt idx="2600">
                  <c:v>45007</c:v>
                </c:pt>
                <c:pt idx="2601">
                  <c:v>45008</c:v>
                </c:pt>
                <c:pt idx="2602">
                  <c:v>45009</c:v>
                </c:pt>
                <c:pt idx="2603">
                  <c:v>45012</c:v>
                </c:pt>
                <c:pt idx="2604">
                  <c:v>45013</c:v>
                </c:pt>
                <c:pt idx="2605">
                  <c:v>45014</c:v>
                </c:pt>
                <c:pt idx="2606">
                  <c:v>45015</c:v>
                </c:pt>
                <c:pt idx="2607">
                  <c:v>45016</c:v>
                </c:pt>
                <c:pt idx="2608">
                  <c:v>45019</c:v>
                </c:pt>
                <c:pt idx="2609">
                  <c:v>45020</c:v>
                </c:pt>
                <c:pt idx="2610">
                  <c:v>45021</c:v>
                </c:pt>
                <c:pt idx="2611">
                  <c:v>45022</c:v>
                </c:pt>
                <c:pt idx="2612">
                  <c:v>45023</c:v>
                </c:pt>
                <c:pt idx="2613">
                  <c:v>45026</c:v>
                </c:pt>
                <c:pt idx="2614">
                  <c:v>45027</c:v>
                </c:pt>
                <c:pt idx="2615">
                  <c:v>45028</c:v>
                </c:pt>
                <c:pt idx="2616">
                  <c:v>45029</c:v>
                </c:pt>
                <c:pt idx="2617">
                  <c:v>45030</c:v>
                </c:pt>
                <c:pt idx="2618">
                  <c:v>45033</c:v>
                </c:pt>
                <c:pt idx="2619">
                  <c:v>45034</c:v>
                </c:pt>
                <c:pt idx="2620">
                  <c:v>45035</c:v>
                </c:pt>
                <c:pt idx="2621">
                  <c:v>45036</c:v>
                </c:pt>
                <c:pt idx="2622">
                  <c:v>45037</c:v>
                </c:pt>
                <c:pt idx="2623">
                  <c:v>45040</c:v>
                </c:pt>
                <c:pt idx="2624">
                  <c:v>45041</c:v>
                </c:pt>
                <c:pt idx="2625">
                  <c:v>45042</c:v>
                </c:pt>
                <c:pt idx="2626">
                  <c:v>45043</c:v>
                </c:pt>
                <c:pt idx="2627">
                  <c:v>45044</c:v>
                </c:pt>
                <c:pt idx="2628">
                  <c:v>45047</c:v>
                </c:pt>
                <c:pt idx="2629">
                  <c:v>45048</c:v>
                </c:pt>
                <c:pt idx="2630">
                  <c:v>45049</c:v>
                </c:pt>
                <c:pt idx="2631">
                  <c:v>45050</c:v>
                </c:pt>
                <c:pt idx="2632">
                  <c:v>45051</c:v>
                </c:pt>
                <c:pt idx="2633">
                  <c:v>45054</c:v>
                </c:pt>
                <c:pt idx="2634">
                  <c:v>45055</c:v>
                </c:pt>
                <c:pt idx="2635">
                  <c:v>45056</c:v>
                </c:pt>
                <c:pt idx="2636">
                  <c:v>45057</c:v>
                </c:pt>
                <c:pt idx="2637">
                  <c:v>45058</c:v>
                </c:pt>
                <c:pt idx="2638">
                  <c:v>45061</c:v>
                </c:pt>
                <c:pt idx="2639">
                  <c:v>45062</c:v>
                </c:pt>
                <c:pt idx="2640">
                  <c:v>45063</c:v>
                </c:pt>
                <c:pt idx="2641">
                  <c:v>45064</c:v>
                </c:pt>
                <c:pt idx="2642">
                  <c:v>45065</c:v>
                </c:pt>
                <c:pt idx="2643">
                  <c:v>45068</c:v>
                </c:pt>
                <c:pt idx="2644">
                  <c:v>45069</c:v>
                </c:pt>
                <c:pt idx="2645">
                  <c:v>45070</c:v>
                </c:pt>
                <c:pt idx="2646">
                  <c:v>45071</c:v>
                </c:pt>
                <c:pt idx="2647">
                  <c:v>45072</c:v>
                </c:pt>
                <c:pt idx="2648">
                  <c:v>45075</c:v>
                </c:pt>
                <c:pt idx="2649">
                  <c:v>45076</c:v>
                </c:pt>
                <c:pt idx="2650">
                  <c:v>45077</c:v>
                </c:pt>
                <c:pt idx="2651">
                  <c:v>45078</c:v>
                </c:pt>
                <c:pt idx="2652">
                  <c:v>45079</c:v>
                </c:pt>
                <c:pt idx="2653">
                  <c:v>45082</c:v>
                </c:pt>
                <c:pt idx="2654">
                  <c:v>45083</c:v>
                </c:pt>
                <c:pt idx="2655">
                  <c:v>45084</c:v>
                </c:pt>
                <c:pt idx="2656">
                  <c:v>45085</c:v>
                </c:pt>
                <c:pt idx="2657">
                  <c:v>45086</c:v>
                </c:pt>
                <c:pt idx="2658">
                  <c:v>45089</c:v>
                </c:pt>
                <c:pt idx="2659">
                  <c:v>45090</c:v>
                </c:pt>
                <c:pt idx="2660">
                  <c:v>45091</c:v>
                </c:pt>
                <c:pt idx="2661">
                  <c:v>45092</c:v>
                </c:pt>
                <c:pt idx="2662">
                  <c:v>45093</c:v>
                </c:pt>
                <c:pt idx="2663">
                  <c:v>45096</c:v>
                </c:pt>
                <c:pt idx="2664">
                  <c:v>45097</c:v>
                </c:pt>
                <c:pt idx="2665">
                  <c:v>45098</c:v>
                </c:pt>
                <c:pt idx="2666">
                  <c:v>45099</c:v>
                </c:pt>
                <c:pt idx="2667">
                  <c:v>45100</c:v>
                </c:pt>
                <c:pt idx="2668">
                  <c:v>45103</c:v>
                </c:pt>
                <c:pt idx="2669">
                  <c:v>45104</c:v>
                </c:pt>
                <c:pt idx="2670">
                  <c:v>45105</c:v>
                </c:pt>
                <c:pt idx="2671">
                  <c:v>45106</c:v>
                </c:pt>
                <c:pt idx="2672">
                  <c:v>45107</c:v>
                </c:pt>
                <c:pt idx="2673">
                  <c:v>45110</c:v>
                </c:pt>
                <c:pt idx="2674">
                  <c:v>45111</c:v>
                </c:pt>
                <c:pt idx="2675">
                  <c:v>45112</c:v>
                </c:pt>
                <c:pt idx="2676">
                  <c:v>45113</c:v>
                </c:pt>
                <c:pt idx="2677">
                  <c:v>45114</c:v>
                </c:pt>
                <c:pt idx="2678">
                  <c:v>45117</c:v>
                </c:pt>
                <c:pt idx="2679">
                  <c:v>45118</c:v>
                </c:pt>
                <c:pt idx="2680">
                  <c:v>45119</c:v>
                </c:pt>
                <c:pt idx="2681">
                  <c:v>45120</c:v>
                </c:pt>
                <c:pt idx="2682">
                  <c:v>45121</c:v>
                </c:pt>
                <c:pt idx="2683">
                  <c:v>45124</c:v>
                </c:pt>
                <c:pt idx="2684">
                  <c:v>45125</c:v>
                </c:pt>
                <c:pt idx="2685">
                  <c:v>45126</c:v>
                </c:pt>
                <c:pt idx="2686">
                  <c:v>45127</c:v>
                </c:pt>
                <c:pt idx="2687">
                  <c:v>45128</c:v>
                </c:pt>
                <c:pt idx="2688">
                  <c:v>45131</c:v>
                </c:pt>
                <c:pt idx="2689">
                  <c:v>45132</c:v>
                </c:pt>
                <c:pt idx="2690">
                  <c:v>45133</c:v>
                </c:pt>
                <c:pt idx="2691">
                  <c:v>45134</c:v>
                </c:pt>
                <c:pt idx="2692">
                  <c:v>45135</c:v>
                </c:pt>
                <c:pt idx="2693">
                  <c:v>45138</c:v>
                </c:pt>
                <c:pt idx="2694">
                  <c:v>45139</c:v>
                </c:pt>
                <c:pt idx="2695">
                  <c:v>45140</c:v>
                </c:pt>
                <c:pt idx="2696">
                  <c:v>45141</c:v>
                </c:pt>
                <c:pt idx="2697">
                  <c:v>45142</c:v>
                </c:pt>
                <c:pt idx="2698">
                  <c:v>45145</c:v>
                </c:pt>
                <c:pt idx="2699">
                  <c:v>45146</c:v>
                </c:pt>
                <c:pt idx="2700">
                  <c:v>45147</c:v>
                </c:pt>
                <c:pt idx="2701">
                  <c:v>45148</c:v>
                </c:pt>
                <c:pt idx="2702">
                  <c:v>45149</c:v>
                </c:pt>
                <c:pt idx="2703">
                  <c:v>45152</c:v>
                </c:pt>
                <c:pt idx="2704">
                  <c:v>45153</c:v>
                </c:pt>
                <c:pt idx="2705">
                  <c:v>45154</c:v>
                </c:pt>
                <c:pt idx="2706">
                  <c:v>45155</c:v>
                </c:pt>
                <c:pt idx="2707">
                  <c:v>45156</c:v>
                </c:pt>
                <c:pt idx="2708">
                  <c:v>45159</c:v>
                </c:pt>
                <c:pt idx="2709">
                  <c:v>45160</c:v>
                </c:pt>
                <c:pt idx="2710">
                  <c:v>45161</c:v>
                </c:pt>
                <c:pt idx="2711">
                  <c:v>45162</c:v>
                </c:pt>
                <c:pt idx="2712">
                  <c:v>45163</c:v>
                </c:pt>
                <c:pt idx="2713">
                  <c:v>45166</c:v>
                </c:pt>
                <c:pt idx="2714">
                  <c:v>45167</c:v>
                </c:pt>
                <c:pt idx="2715">
                  <c:v>45168</c:v>
                </c:pt>
                <c:pt idx="2716">
                  <c:v>45169</c:v>
                </c:pt>
                <c:pt idx="2717">
                  <c:v>45170</c:v>
                </c:pt>
                <c:pt idx="2718">
                  <c:v>45173</c:v>
                </c:pt>
                <c:pt idx="2719">
                  <c:v>45174</c:v>
                </c:pt>
                <c:pt idx="2720">
                  <c:v>45175</c:v>
                </c:pt>
                <c:pt idx="2721">
                  <c:v>45176</c:v>
                </c:pt>
                <c:pt idx="2722">
                  <c:v>45177</c:v>
                </c:pt>
                <c:pt idx="2723">
                  <c:v>45180</c:v>
                </c:pt>
                <c:pt idx="2724">
                  <c:v>45181</c:v>
                </c:pt>
                <c:pt idx="2725">
                  <c:v>45182</c:v>
                </c:pt>
                <c:pt idx="2726">
                  <c:v>45183</c:v>
                </c:pt>
                <c:pt idx="2727">
                  <c:v>45184</c:v>
                </c:pt>
                <c:pt idx="2728">
                  <c:v>45187</c:v>
                </c:pt>
                <c:pt idx="2729">
                  <c:v>45188</c:v>
                </c:pt>
                <c:pt idx="2730">
                  <c:v>45189</c:v>
                </c:pt>
                <c:pt idx="2731">
                  <c:v>45190</c:v>
                </c:pt>
                <c:pt idx="2732">
                  <c:v>45191</c:v>
                </c:pt>
                <c:pt idx="2733">
                  <c:v>45194</c:v>
                </c:pt>
                <c:pt idx="2734">
                  <c:v>45195</c:v>
                </c:pt>
                <c:pt idx="2735">
                  <c:v>45196</c:v>
                </c:pt>
                <c:pt idx="2736">
                  <c:v>45197</c:v>
                </c:pt>
                <c:pt idx="2737">
                  <c:v>45198</c:v>
                </c:pt>
                <c:pt idx="2738">
                  <c:v>45201</c:v>
                </c:pt>
                <c:pt idx="2739">
                  <c:v>45202</c:v>
                </c:pt>
                <c:pt idx="2740">
                  <c:v>45203</c:v>
                </c:pt>
                <c:pt idx="2741">
                  <c:v>45204</c:v>
                </c:pt>
                <c:pt idx="2742">
                  <c:v>45205</c:v>
                </c:pt>
                <c:pt idx="2743">
                  <c:v>45208</c:v>
                </c:pt>
                <c:pt idx="2744">
                  <c:v>45209</c:v>
                </c:pt>
                <c:pt idx="2745">
                  <c:v>45210</c:v>
                </c:pt>
                <c:pt idx="2746">
                  <c:v>45211</c:v>
                </c:pt>
                <c:pt idx="2747">
                  <c:v>45212</c:v>
                </c:pt>
                <c:pt idx="2748">
                  <c:v>45215</c:v>
                </c:pt>
                <c:pt idx="2749">
                  <c:v>45216</c:v>
                </c:pt>
                <c:pt idx="2750">
                  <c:v>45217</c:v>
                </c:pt>
                <c:pt idx="2751">
                  <c:v>45218</c:v>
                </c:pt>
                <c:pt idx="2752">
                  <c:v>45219</c:v>
                </c:pt>
                <c:pt idx="2753">
                  <c:v>45222</c:v>
                </c:pt>
                <c:pt idx="2754">
                  <c:v>45223</c:v>
                </c:pt>
                <c:pt idx="2755">
                  <c:v>45224</c:v>
                </c:pt>
                <c:pt idx="2756">
                  <c:v>45225</c:v>
                </c:pt>
                <c:pt idx="2757">
                  <c:v>45226</c:v>
                </c:pt>
                <c:pt idx="2758">
                  <c:v>45229</c:v>
                </c:pt>
                <c:pt idx="2759">
                  <c:v>45230</c:v>
                </c:pt>
                <c:pt idx="2760">
                  <c:v>45231</c:v>
                </c:pt>
                <c:pt idx="2761">
                  <c:v>45232</c:v>
                </c:pt>
                <c:pt idx="2762">
                  <c:v>45233</c:v>
                </c:pt>
                <c:pt idx="2763">
                  <c:v>45236</c:v>
                </c:pt>
                <c:pt idx="2764">
                  <c:v>45237</c:v>
                </c:pt>
                <c:pt idx="2765">
                  <c:v>45238</c:v>
                </c:pt>
                <c:pt idx="2766">
                  <c:v>45239</c:v>
                </c:pt>
                <c:pt idx="2767">
                  <c:v>45240</c:v>
                </c:pt>
                <c:pt idx="2768">
                  <c:v>45243</c:v>
                </c:pt>
                <c:pt idx="2769">
                  <c:v>45244</c:v>
                </c:pt>
                <c:pt idx="2770">
                  <c:v>45245</c:v>
                </c:pt>
                <c:pt idx="2771">
                  <c:v>45246</c:v>
                </c:pt>
                <c:pt idx="2772">
                  <c:v>45247</c:v>
                </c:pt>
                <c:pt idx="2773">
                  <c:v>45250</c:v>
                </c:pt>
                <c:pt idx="2774">
                  <c:v>45251</c:v>
                </c:pt>
                <c:pt idx="2775">
                  <c:v>45252</c:v>
                </c:pt>
              </c:numCache>
            </c:numRef>
          </c:cat>
          <c:val>
            <c:numRef>
              <c:f>Sheet1!$D$4:$D$2779</c:f>
              <c:numCache>
                <c:formatCode>_(* #,##0.00_);_(* \(#,##0.00\);_(* "-"??_);_(@_)</c:formatCode>
                <c:ptCount val="2776"/>
                <c:pt idx="0">
                  <c:v>127.846</c:v>
                </c:pt>
                <c:pt idx="1">
                  <c:v>122.015</c:v>
                </c:pt>
                <c:pt idx="2">
                  <c:v>115</c:v>
                </c:pt>
                <c:pt idx="3">
                  <c:v>117</c:v>
                </c:pt>
                <c:pt idx="4">
                  <c:v>116.5</c:v>
                </c:pt>
                <c:pt idx="5">
                  <c:v>119.741</c:v>
                </c:pt>
                <c:pt idx="6">
                  <c:v>117.167</c:v>
                </c:pt>
                <c:pt idx="7">
                  <c:v>117.5</c:v>
                </c:pt>
                <c:pt idx="8">
                  <c:v>120.75</c:v>
                </c:pt>
                <c:pt idx="9">
                  <c:v>122</c:v>
                </c:pt>
                <c:pt idx="10">
                  <c:v>124.833</c:v>
                </c:pt>
                <c:pt idx="11">
                  <c:v>125.5</c:v>
                </c:pt>
                <c:pt idx="12">
                  <c:v>122.75</c:v>
                </c:pt>
                <c:pt idx="13">
                  <c:v>126</c:v>
                </c:pt>
                <c:pt idx="14">
                  <c:v>126</c:v>
                </c:pt>
                <c:pt idx="15">
                  <c:v>126.167</c:v>
                </c:pt>
                <c:pt idx="16">
                  <c:v>123.75</c:v>
                </c:pt>
                <c:pt idx="17">
                  <c:v>120.83</c:v>
                </c:pt>
                <c:pt idx="18">
                  <c:v>120.5</c:v>
                </c:pt>
                <c:pt idx="19">
                  <c:v>120.5</c:v>
                </c:pt>
                <c:pt idx="20">
                  <c:v>124.375</c:v>
                </c:pt>
                <c:pt idx="21">
                  <c:v>133</c:v>
                </c:pt>
                <c:pt idx="22">
                  <c:v>135.625</c:v>
                </c:pt>
                <c:pt idx="23">
                  <c:v>133.833</c:v>
                </c:pt>
                <c:pt idx="24">
                  <c:v>136.79300000000001</c:v>
                </c:pt>
                <c:pt idx="25">
                  <c:v>133</c:v>
                </c:pt>
                <c:pt idx="26">
                  <c:v>132.25</c:v>
                </c:pt>
                <c:pt idx="27">
                  <c:v>134.667</c:v>
                </c:pt>
                <c:pt idx="28">
                  <c:v>134.667</c:v>
                </c:pt>
                <c:pt idx="29">
                  <c:v>136.5</c:v>
                </c:pt>
                <c:pt idx="30">
                  <c:v>134.5</c:v>
                </c:pt>
                <c:pt idx="31">
                  <c:v>132.91800000000001</c:v>
                </c:pt>
                <c:pt idx="32">
                  <c:v>134</c:v>
                </c:pt>
                <c:pt idx="33">
                  <c:v>135.167</c:v>
                </c:pt>
                <c:pt idx="34">
                  <c:v>135.167</c:v>
                </c:pt>
                <c:pt idx="35">
                  <c:v>134.5</c:v>
                </c:pt>
                <c:pt idx="36">
                  <c:v>134.5</c:v>
                </c:pt>
                <c:pt idx="37">
                  <c:v>140</c:v>
                </c:pt>
                <c:pt idx="38">
                  <c:v>141</c:v>
                </c:pt>
                <c:pt idx="39">
                  <c:v>140.833</c:v>
                </c:pt>
                <c:pt idx="40">
                  <c:v>146.375</c:v>
                </c:pt>
                <c:pt idx="41">
                  <c:v>140.75</c:v>
                </c:pt>
                <c:pt idx="42">
                  <c:v>138.75</c:v>
                </c:pt>
                <c:pt idx="43">
                  <c:v>137.5</c:v>
                </c:pt>
                <c:pt idx="44">
                  <c:v>137.833</c:v>
                </c:pt>
                <c:pt idx="45">
                  <c:v>135.16999999999999</c:v>
                </c:pt>
                <c:pt idx="46">
                  <c:v>134.83000000000001</c:v>
                </c:pt>
                <c:pt idx="47">
                  <c:v>131.375</c:v>
                </c:pt>
                <c:pt idx="48">
                  <c:v>130.167</c:v>
                </c:pt>
                <c:pt idx="49">
                  <c:v>130.625</c:v>
                </c:pt>
                <c:pt idx="50">
                  <c:v>130.875</c:v>
                </c:pt>
                <c:pt idx="51">
                  <c:v>130.5</c:v>
                </c:pt>
                <c:pt idx="52">
                  <c:v>128.17500000000001</c:v>
                </c:pt>
                <c:pt idx="53">
                  <c:v>129.167</c:v>
                </c:pt>
                <c:pt idx="54">
                  <c:v>129.333</c:v>
                </c:pt>
                <c:pt idx="55">
                  <c:v>137.833</c:v>
                </c:pt>
                <c:pt idx="56">
                  <c:v>138.833</c:v>
                </c:pt>
                <c:pt idx="57">
                  <c:v>141.167</c:v>
                </c:pt>
                <c:pt idx="58">
                  <c:v>141.5</c:v>
                </c:pt>
                <c:pt idx="59">
                  <c:v>142.755</c:v>
                </c:pt>
                <c:pt idx="60">
                  <c:v>144.333</c:v>
                </c:pt>
                <c:pt idx="61">
                  <c:v>140.65</c:v>
                </c:pt>
                <c:pt idx="62">
                  <c:v>148</c:v>
                </c:pt>
                <c:pt idx="63">
                  <c:v>146.58799999999999</c:v>
                </c:pt>
                <c:pt idx="64">
                  <c:v>146.559</c:v>
                </c:pt>
                <c:pt idx="65">
                  <c:v>145</c:v>
                </c:pt>
                <c:pt idx="66">
                  <c:v>148.25</c:v>
                </c:pt>
                <c:pt idx="67">
                  <c:v>144.25</c:v>
                </c:pt>
                <c:pt idx="68">
                  <c:v>140.167</c:v>
                </c:pt>
                <c:pt idx="69">
                  <c:v>133.625</c:v>
                </c:pt>
                <c:pt idx="70">
                  <c:v>133.167</c:v>
                </c:pt>
                <c:pt idx="71">
                  <c:v>128.167</c:v>
                </c:pt>
                <c:pt idx="72">
                  <c:v>125.833</c:v>
                </c:pt>
                <c:pt idx="73">
                  <c:v>124.5</c:v>
                </c:pt>
                <c:pt idx="74">
                  <c:v>126.375</c:v>
                </c:pt>
                <c:pt idx="75">
                  <c:v>124.5</c:v>
                </c:pt>
                <c:pt idx="76">
                  <c:v>126.5</c:v>
                </c:pt>
                <c:pt idx="77">
                  <c:v>128.125</c:v>
                </c:pt>
                <c:pt idx="78">
                  <c:v>126.875</c:v>
                </c:pt>
                <c:pt idx="79">
                  <c:v>125.003</c:v>
                </c:pt>
                <c:pt idx="80">
                  <c:v>122.18</c:v>
                </c:pt>
                <c:pt idx="81">
                  <c:v>121.498</c:v>
                </c:pt>
                <c:pt idx="82">
                  <c:v>123.5</c:v>
                </c:pt>
                <c:pt idx="83">
                  <c:v>124.34</c:v>
                </c:pt>
                <c:pt idx="84">
                  <c:v>121.005</c:v>
                </c:pt>
                <c:pt idx="85">
                  <c:v>120.325</c:v>
                </c:pt>
                <c:pt idx="86">
                  <c:v>116.175</c:v>
                </c:pt>
                <c:pt idx="87">
                  <c:v>112.625</c:v>
                </c:pt>
                <c:pt idx="88">
                  <c:v>113.72</c:v>
                </c:pt>
                <c:pt idx="89">
                  <c:v>118.158</c:v>
                </c:pt>
                <c:pt idx="90">
                  <c:v>112.673</c:v>
                </c:pt>
                <c:pt idx="91">
                  <c:v>111.663</c:v>
                </c:pt>
                <c:pt idx="92">
                  <c:v>111.99299999999999</c:v>
                </c:pt>
                <c:pt idx="93">
                  <c:v>113.16800000000001</c:v>
                </c:pt>
                <c:pt idx="94">
                  <c:v>116.625</c:v>
                </c:pt>
                <c:pt idx="95">
                  <c:v>116.828</c:v>
                </c:pt>
                <c:pt idx="96">
                  <c:v>118.508</c:v>
                </c:pt>
                <c:pt idx="97">
                  <c:v>120.678</c:v>
                </c:pt>
                <c:pt idx="98">
                  <c:v>115.125</c:v>
                </c:pt>
                <c:pt idx="99">
                  <c:v>116.828</c:v>
                </c:pt>
                <c:pt idx="100">
                  <c:v>117.998</c:v>
                </c:pt>
                <c:pt idx="101">
                  <c:v>117.059</c:v>
                </c:pt>
                <c:pt idx="102">
                  <c:v>122.333</c:v>
                </c:pt>
                <c:pt idx="103">
                  <c:v>123.562</c:v>
                </c:pt>
                <c:pt idx="104">
                  <c:v>124.538</c:v>
                </c:pt>
                <c:pt idx="105">
                  <c:v>124.39400000000001</c:v>
                </c:pt>
                <c:pt idx="106">
                  <c:v>129.625</c:v>
                </c:pt>
                <c:pt idx="107">
                  <c:v>132.99799999999999</c:v>
                </c:pt>
                <c:pt idx="108">
                  <c:v>130.83799999999999</c:v>
                </c:pt>
                <c:pt idx="109">
                  <c:v>145.49799999999999</c:v>
                </c:pt>
                <c:pt idx="110">
                  <c:v>141.99299999999999</c:v>
                </c:pt>
                <c:pt idx="111">
                  <c:v>152.83799999999999</c:v>
                </c:pt>
                <c:pt idx="112">
                  <c:v>167.667</c:v>
                </c:pt>
                <c:pt idx="113">
                  <c:v>163.16800000000001</c:v>
                </c:pt>
                <c:pt idx="114">
                  <c:v>172.01300000000001</c:v>
                </c:pt>
                <c:pt idx="115">
                  <c:v>183.601</c:v>
                </c:pt>
                <c:pt idx="116">
                  <c:v>177.375</c:v>
                </c:pt>
                <c:pt idx="117">
                  <c:v>167.5</c:v>
                </c:pt>
                <c:pt idx="118">
                  <c:v>152.21</c:v>
                </c:pt>
                <c:pt idx="119">
                  <c:v>155.167</c:v>
                </c:pt>
                <c:pt idx="120">
                  <c:v>163.82300000000001</c:v>
                </c:pt>
                <c:pt idx="121">
                  <c:v>162.66</c:v>
                </c:pt>
                <c:pt idx="122">
                  <c:v>203.852</c:v>
                </c:pt>
                <c:pt idx="123">
                  <c:v>220.333</c:v>
                </c:pt>
                <c:pt idx="124">
                  <c:v>240.00800000000001</c:v>
                </c:pt>
                <c:pt idx="125">
                  <c:v>211.16300000000001</c:v>
                </c:pt>
                <c:pt idx="126">
                  <c:v>199.00299999999999</c:v>
                </c:pt>
                <c:pt idx="127">
                  <c:v>183.54499999999999</c:v>
                </c:pt>
                <c:pt idx="128">
                  <c:v>191.65799999999999</c:v>
                </c:pt>
                <c:pt idx="129">
                  <c:v>182.2</c:v>
                </c:pt>
                <c:pt idx="130">
                  <c:v>180.66300000000001</c:v>
                </c:pt>
                <c:pt idx="131">
                  <c:v>188.167</c:v>
                </c:pt>
                <c:pt idx="132">
                  <c:v>188.971</c:v>
                </c:pt>
                <c:pt idx="133">
                  <c:v>196.96799999999999</c:v>
                </c:pt>
                <c:pt idx="134">
                  <c:v>200.99299999999999</c:v>
                </c:pt>
                <c:pt idx="135">
                  <c:v>203.39500000000001</c:v>
                </c:pt>
                <c:pt idx="136">
                  <c:v>217.017</c:v>
                </c:pt>
                <c:pt idx="137">
                  <c:v>217.53700000000001</c:v>
                </c:pt>
                <c:pt idx="138">
                  <c:v>212.202</c:v>
                </c:pt>
                <c:pt idx="139">
                  <c:v>203.673</c:v>
                </c:pt>
                <c:pt idx="140">
                  <c:v>199.5</c:v>
                </c:pt>
                <c:pt idx="141">
                  <c:v>194.35499999999999</c:v>
                </c:pt>
                <c:pt idx="142">
                  <c:v>184.85</c:v>
                </c:pt>
                <c:pt idx="143">
                  <c:v>185.489</c:v>
                </c:pt>
                <c:pt idx="144">
                  <c:v>184.47900000000001</c:v>
                </c:pt>
                <c:pt idx="145">
                  <c:v>187.977</c:v>
                </c:pt>
                <c:pt idx="146">
                  <c:v>189.13499999999999</c:v>
                </c:pt>
                <c:pt idx="147">
                  <c:v>198.346</c:v>
                </c:pt>
                <c:pt idx="148">
                  <c:v>201.501</c:v>
                </c:pt>
                <c:pt idx="149">
                  <c:v>201.999</c:v>
                </c:pt>
                <c:pt idx="150">
                  <c:v>201.84899999999999</c:v>
                </c:pt>
                <c:pt idx="151">
                  <c:v>206.99100000000001</c:v>
                </c:pt>
                <c:pt idx="152">
                  <c:v>202.34100000000001</c:v>
                </c:pt>
                <c:pt idx="153">
                  <c:v>205.333</c:v>
                </c:pt>
                <c:pt idx="154">
                  <c:v>204.01499999999999</c:v>
                </c:pt>
                <c:pt idx="155">
                  <c:v>210.98500000000001</c:v>
                </c:pt>
                <c:pt idx="156">
                  <c:v>213.893</c:v>
                </c:pt>
                <c:pt idx="157">
                  <c:v>215.46700000000001</c:v>
                </c:pt>
                <c:pt idx="158">
                  <c:v>216.15899999999999</c:v>
                </c:pt>
                <c:pt idx="159">
                  <c:v>212.322</c:v>
                </c:pt>
                <c:pt idx="160">
                  <c:v>213.27500000000001</c:v>
                </c:pt>
                <c:pt idx="161">
                  <c:v>212.96600000000001</c:v>
                </c:pt>
                <c:pt idx="162">
                  <c:v>216.61099999999999</c:v>
                </c:pt>
                <c:pt idx="163">
                  <c:v>218.27199999999999</c:v>
                </c:pt>
                <c:pt idx="164">
                  <c:v>225.846</c:v>
                </c:pt>
                <c:pt idx="165">
                  <c:v>232.404</c:v>
                </c:pt>
                <c:pt idx="166">
                  <c:v>236.97300000000001</c:v>
                </c:pt>
                <c:pt idx="167">
                  <c:v>239.328</c:v>
                </c:pt>
                <c:pt idx="168">
                  <c:v>232.309</c:v>
                </c:pt>
                <c:pt idx="169">
                  <c:v>229.93899999999999</c:v>
                </c:pt>
                <c:pt idx="170">
                  <c:v>241.262</c:v>
                </c:pt>
                <c:pt idx="171">
                  <c:v>242.607</c:v>
                </c:pt>
                <c:pt idx="172">
                  <c:v>236.114</c:v>
                </c:pt>
                <c:pt idx="173">
                  <c:v>239.727</c:v>
                </c:pt>
                <c:pt idx="174">
                  <c:v>238.07499999999999</c:v>
                </c:pt>
                <c:pt idx="175">
                  <c:v>243.476</c:v>
                </c:pt>
                <c:pt idx="176">
                  <c:v>244.024</c:v>
                </c:pt>
                <c:pt idx="177">
                  <c:v>245.55799999999999</c:v>
                </c:pt>
                <c:pt idx="178">
                  <c:v>243.08600000000001</c:v>
                </c:pt>
                <c:pt idx="179">
                  <c:v>233.441</c:v>
                </c:pt>
                <c:pt idx="180">
                  <c:v>231.11099999999999</c:v>
                </c:pt>
                <c:pt idx="181">
                  <c:v>220.441</c:v>
                </c:pt>
                <c:pt idx="182">
                  <c:v>210.309</c:v>
                </c:pt>
                <c:pt idx="183">
                  <c:v>214.464</c:v>
                </c:pt>
                <c:pt idx="184">
                  <c:v>207.31399999999999</c:v>
                </c:pt>
                <c:pt idx="185">
                  <c:v>206.65199999999999</c:v>
                </c:pt>
                <c:pt idx="186">
                  <c:v>199.43</c:v>
                </c:pt>
                <c:pt idx="187">
                  <c:v>173.49</c:v>
                </c:pt>
                <c:pt idx="188">
                  <c:v>197.04499999999999</c:v>
                </c:pt>
                <c:pt idx="189">
                  <c:v>192.18299999999999</c:v>
                </c:pt>
                <c:pt idx="190">
                  <c:v>199.107</c:v>
                </c:pt>
                <c:pt idx="191">
                  <c:v>198.04599999999999</c:v>
                </c:pt>
                <c:pt idx="192">
                  <c:v>205.82499999999999</c:v>
                </c:pt>
                <c:pt idx="193">
                  <c:v>181.21700000000001</c:v>
                </c:pt>
                <c:pt idx="194">
                  <c:v>182.392</c:v>
                </c:pt>
                <c:pt idx="195">
                  <c:v>189.488</c:v>
                </c:pt>
                <c:pt idx="196">
                  <c:v>184</c:v>
                </c:pt>
                <c:pt idx="197">
                  <c:v>185.625</c:v>
                </c:pt>
                <c:pt idx="198">
                  <c:v>191.15</c:v>
                </c:pt>
                <c:pt idx="199">
                  <c:v>194.13300000000001</c:v>
                </c:pt>
                <c:pt idx="200">
                  <c:v>189.745</c:v>
                </c:pt>
                <c:pt idx="201">
                  <c:v>203.71299999999999</c:v>
                </c:pt>
                <c:pt idx="202">
                  <c:v>202.7</c:v>
                </c:pt>
                <c:pt idx="203">
                  <c:v>211.155</c:v>
                </c:pt>
                <c:pt idx="204">
                  <c:v>210.376</c:v>
                </c:pt>
                <c:pt idx="205">
                  <c:v>211.33799999999999</c:v>
                </c:pt>
                <c:pt idx="206">
                  <c:v>205.845</c:v>
                </c:pt>
                <c:pt idx="207">
                  <c:v>202.16300000000001</c:v>
                </c:pt>
                <c:pt idx="208">
                  <c:v>195.33799999999999</c:v>
                </c:pt>
                <c:pt idx="209">
                  <c:v>189.673</c:v>
                </c:pt>
                <c:pt idx="210">
                  <c:v>192.845</c:v>
                </c:pt>
                <c:pt idx="211">
                  <c:v>194.33799999999999</c:v>
                </c:pt>
                <c:pt idx="212">
                  <c:v>202.99299999999999</c:v>
                </c:pt>
                <c:pt idx="213">
                  <c:v>201.155</c:v>
                </c:pt>
                <c:pt idx="214">
                  <c:v>197.00299999999999</c:v>
                </c:pt>
                <c:pt idx="215">
                  <c:v>202.99799999999999</c:v>
                </c:pt>
                <c:pt idx="216">
                  <c:v>208.15299999999999</c:v>
                </c:pt>
                <c:pt idx="217">
                  <c:v>207.143</c:v>
                </c:pt>
                <c:pt idx="218">
                  <c:v>207.143</c:v>
                </c:pt>
                <c:pt idx="219">
                  <c:v>212.5</c:v>
                </c:pt>
                <c:pt idx="220">
                  <c:v>215.32300000000001</c:v>
                </c:pt>
                <c:pt idx="221">
                  <c:v>220.00299999999999</c:v>
                </c:pt>
                <c:pt idx="222">
                  <c:v>215.523</c:v>
                </c:pt>
                <c:pt idx="223">
                  <c:v>207.31</c:v>
                </c:pt>
                <c:pt idx="224">
                  <c:v>201.65799999999999</c:v>
                </c:pt>
                <c:pt idx="225">
                  <c:v>191.328</c:v>
                </c:pt>
                <c:pt idx="226">
                  <c:v>196.333</c:v>
                </c:pt>
                <c:pt idx="227">
                  <c:v>199.155</c:v>
                </c:pt>
                <c:pt idx="228">
                  <c:v>192.17</c:v>
                </c:pt>
                <c:pt idx="229">
                  <c:v>188</c:v>
                </c:pt>
                <c:pt idx="230">
                  <c:v>195.495</c:v>
                </c:pt>
                <c:pt idx="231">
                  <c:v>205.24799999999999</c:v>
                </c:pt>
                <c:pt idx="232">
                  <c:v>210.00299999999999</c:v>
                </c:pt>
                <c:pt idx="233">
                  <c:v>221.155</c:v>
                </c:pt>
                <c:pt idx="234">
                  <c:v>221.53800000000001</c:v>
                </c:pt>
                <c:pt idx="235">
                  <c:v>221.53800000000001</c:v>
                </c:pt>
                <c:pt idx="236">
                  <c:v>221.53800000000001</c:v>
                </c:pt>
                <c:pt idx="237">
                  <c:v>221.53800000000001</c:v>
                </c:pt>
                <c:pt idx="238">
                  <c:v>221.53800000000001</c:v>
                </c:pt>
                <c:pt idx="239">
                  <c:v>248.35</c:v>
                </c:pt>
                <c:pt idx="240">
                  <c:v>244.72</c:v>
                </c:pt>
                <c:pt idx="241">
                  <c:v>244.72499999999999</c:v>
                </c:pt>
                <c:pt idx="242">
                  <c:v>245.01</c:v>
                </c:pt>
                <c:pt idx="243">
                  <c:v>240.84</c:v>
                </c:pt>
                <c:pt idx="244">
                  <c:v>226.17500000000001</c:v>
                </c:pt>
                <c:pt idx="245">
                  <c:v>221.18</c:v>
                </c:pt>
                <c:pt idx="246">
                  <c:v>235.66300000000001</c:v>
                </c:pt>
                <c:pt idx="247">
                  <c:v>238.01300000000001</c:v>
                </c:pt>
                <c:pt idx="248">
                  <c:v>232.833</c:v>
                </c:pt>
                <c:pt idx="249">
                  <c:v>238.333</c:v>
                </c:pt>
                <c:pt idx="250">
                  <c:v>238.51</c:v>
                </c:pt>
                <c:pt idx="251">
                  <c:v>235.91399999999999</c:v>
                </c:pt>
                <c:pt idx="252">
                  <c:v>238.673</c:v>
                </c:pt>
                <c:pt idx="253">
                  <c:v>246.875</c:v>
                </c:pt>
                <c:pt idx="254">
                  <c:v>247.809</c:v>
                </c:pt>
                <c:pt idx="255">
                  <c:v>242.26400000000001</c:v>
                </c:pt>
                <c:pt idx="256">
                  <c:v>246.32</c:v>
                </c:pt>
                <c:pt idx="257">
                  <c:v>261.85000000000002</c:v>
                </c:pt>
                <c:pt idx="258">
                  <c:v>274.505</c:v>
                </c:pt>
                <c:pt idx="259">
                  <c:v>264.66300000000001</c:v>
                </c:pt>
                <c:pt idx="260">
                  <c:v>256.00299999999999</c:v>
                </c:pt>
                <c:pt idx="261">
                  <c:v>252.85</c:v>
                </c:pt>
                <c:pt idx="262">
                  <c:v>258.84500000000003</c:v>
                </c:pt>
                <c:pt idx="263">
                  <c:v>270.32799999999997</c:v>
                </c:pt>
                <c:pt idx="264">
                  <c:v>273.68299999999999</c:v>
                </c:pt>
                <c:pt idx="265">
                  <c:v>259.505</c:v>
                </c:pt>
                <c:pt idx="266">
                  <c:v>256.16500000000002</c:v>
                </c:pt>
                <c:pt idx="267">
                  <c:v>243.51499999999999</c:v>
                </c:pt>
                <c:pt idx="268">
                  <c:v>246.16800000000001</c:v>
                </c:pt>
                <c:pt idx="269">
                  <c:v>254.83500000000001</c:v>
                </c:pt>
                <c:pt idx="270">
                  <c:v>246.65799999999999</c:v>
                </c:pt>
                <c:pt idx="271">
                  <c:v>243.173</c:v>
                </c:pt>
                <c:pt idx="272">
                  <c:v>247.82499999999999</c:v>
                </c:pt>
                <c:pt idx="273">
                  <c:v>243.50299999999999</c:v>
                </c:pt>
                <c:pt idx="274">
                  <c:v>240.489</c:v>
                </c:pt>
                <c:pt idx="275">
                  <c:v>244.16300000000001</c:v>
                </c:pt>
                <c:pt idx="276">
                  <c:v>245</c:v>
                </c:pt>
                <c:pt idx="277">
                  <c:v>240.32300000000001</c:v>
                </c:pt>
                <c:pt idx="278">
                  <c:v>232.125</c:v>
                </c:pt>
                <c:pt idx="279">
                  <c:v>222.495</c:v>
                </c:pt>
                <c:pt idx="280">
                  <c:v>233.51300000000001</c:v>
                </c:pt>
                <c:pt idx="281">
                  <c:v>236.673</c:v>
                </c:pt>
                <c:pt idx="282">
                  <c:v>235.83</c:v>
                </c:pt>
                <c:pt idx="283">
                  <c:v>230.488</c:v>
                </c:pt>
                <c:pt idx="284">
                  <c:v>238.643</c:v>
                </c:pt>
                <c:pt idx="285">
                  <c:v>229.49799999999999</c:v>
                </c:pt>
                <c:pt idx="286">
                  <c:v>229.33500000000001</c:v>
                </c:pt>
                <c:pt idx="287">
                  <c:v>227.85499999999999</c:v>
                </c:pt>
                <c:pt idx="288">
                  <c:v>228.56899999999999</c:v>
                </c:pt>
                <c:pt idx="289">
                  <c:v>232.66300000000001</c:v>
                </c:pt>
                <c:pt idx="290">
                  <c:v>232.99799999999999</c:v>
                </c:pt>
                <c:pt idx="291">
                  <c:v>249.815</c:v>
                </c:pt>
                <c:pt idx="292">
                  <c:v>254.47800000000001</c:v>
                </c:pt>
                <c:pt idx="293">
                  <c:v>248.16499999999999</c:v>
                </c:pt>
                <c:pt idx="294">
                  <c:v>244.845</c:v>
                </c:pt>
                <c:pt idx="295">
                  <c:v>241.333</c:v>
                </c:pt>
                <c:pt idx="296">
                  <c:v>241.125</c:v>
                </c:pt>
                <c:pt idx="297">
                  <c:v>255.328</c:v>
                </c:pt>
                <c:pt idx="298">
                  <c:v>258.988</c:v>
                </c:pt>
                <c:pt idx="299">
                  <c:v>266.00299999999999</c:v>
                </c:pt>
                <c:pt idx="300">
                  <c:v>258.85300000000001</c:v>
                </c:pt>
                <c:pt idx="301">
                  <c:v>241.66300000000001</c:v>
                </c:pt>
                <c:pt idx="302">
                  <c:v>231.50299999999999</c:v>
                </c:pt>
                <c:pt idx="303">
                  <c:v>231.65299999999999</c:v>
                </c:pt>
                <c:pt idx="304">
                  <c:v>219.68799999999999</c:v>
                </c:pt>
                <c:pt idx="305">
                  <c:v>212.84</c:v>
                </c:pt>
                <c:pt idx="306">
                  <c:v>212.67</c:v>
                </c:pt>
                <c:pt idx="307">
                  <c:v>212.67</c:v>
                </c:pt>
                <c:pt idx="308">
                  <c:v>212.67</c:v>
                </c:pt>
                <c:pt idx="309">
                  <c:v>212.67</c:v>
                </c:pt>
                <c:pt idx="310">
                  <c:v>212.67</c:v>
                </c:pt>
                <c:pt idx="311">
                  <c:v>212.67</c:v>
                </c:pt>
                <c:pt idx="312">
                  <c:v>199.995</c:v>
                </c:pt>
                <c:pt idx="313">
                  <c:v>208.51499999999999</c:v>
                </c:pt>
                <c:pt idx="314">
                  <c:v>213.17</c:v>
                </c:pt>
                <c:pt idx="315">
                  <c:v>209.97800000000001</c:v>
                </c:pt>
                <c:pt idx="316">
                  <c:v>206</c:v>
                </c:pt>
                <c:pt idx="317">
                  <c:v>200.59700000000001</c:v>
                </c:pt>
                <c:pt idx="318">
                  <c:v>200.42400000000001</c:v>
                </c:pt>
                <c:pt idx="319">
                  <c:v>200.404</c:v>
                </c:pt>
                <c:pt idx="320">
                  <c:v>204.17</c:v>
                </c:pt>
                <c:pt idx="321">
                  <c:v>206.33799999999999</c:v>
                </c:pt>
                <c:pt idx="322">
                  <c:v>207.155</c:v>
                </c:pt>
                <c:pt idx="323">
                  <c:v>209.34299999999999</c:v>
                </c:pt>
                <c:pt idx="324">
                  <c:v>205.5</c:v>
                </c:pt>
                <c:pt idx="325">
                  <c:v>200.51300000000001</c:v>
                </c:pt>
                <c:pt idx="326">
                  <c:v>198.67500000000001</c:v>
                </c:pt>
                <c:pt idx="327">
                  <c:v>193.51</c:v>
                </c:pt>
                <c:pt idx="328">
                  <c:v>189.17500000000001</c:v>
                </c:pt>
                <c:pt idx="329">
                  <c:v>189.69800000000001</c:v>
                </c:pt>
                <c:pt idx="330">
                  <c:v>183.99799999999999</c:v>
                </c:pt>
                <c:pt idx="331">
                  <c:v>181.345</c:v>
                </c:pt>
                <c:pt idx="332">
                  <c:v>176.00299999999999</c:v>
                </c:pt>
                <c:pt idx="333">
                  <c:v>182.00800000000001</c:v>
                </c:pt>
                <c:pt idx="334">
                  <c:v>183.333</c:v>
                </c:pt>
                <c:pt idx="335">
                  <c:v>178.65799999999999</c:v>
                </c:pt>
                <c:pt idx="336">
                  <c:v>179.845</c:v>
                </c:pt>
                <c:pt idx="337">
                  <c:v>192.82</c:v>
                </c:pt>
                <c:pt idx="338">
                  <c:v>188.33799999999999</c:v>
                </c:pt>
                <c:pt idx="339">
                  <c:v>184.376</c:v>
                </c:pt>
                <c:pt idx="340">
                  <c:v>190.16</c:v>
                </c:pt>
                <c:pt idx="341">
                  <c:v>185.66300000000001</c:v>
                </c:pt>
                <c:pt idx="342">
                  <c:v>183.988</c:v>
                </c:pt>
                <c:pt idx="343">
                  <c:v>182.49299999999999</c:v>
                </c:pt>
                <c:pt idx="344">
                  <c:v>181.393</c:v>
                </c:pt>
                <c:pt idx="345">
                  <c:v>185.99</c:v>
                </c:pt>
                <c:pt idx="346">
                  <c:v>184.155</c:v>
                </c:pt>
                <c:pt idx="347">
                  <c:v>180.833</c:v>
                </c:pt>
                <c:pt idx="348">
                  <c:v>179.833</c:v>
                </c:pt>
                <c:pt idx="349">
                  <c:v>178.83</c:v>
                </c:pt>
                <c:pt idx="350">
                  <c:v>182.32300000000001</c:v>
                </c:pt>
                <c:pt idx="351">
                  <c:v>189.5</c:v>
                </c:pt>
                <c:pt idx="352">
                  <c:v>185.828</c:v>
                </c:pt>
                <c:pt idx="353">
                  <c:v>165.5</c:v>
                </c:pt>
                <c:pt idx="354">
                  <c:v>165.5</c:v>
                </c:pt>
                <c:pt idx="355">
                  <c:v>169.66800000000001</c:v>
                </c:pt>
                <c:pt idx="356">
                  <c:v>174.83</c:v>
                </c:pt>
                <c:pt idx="357">
                  <c:v>176.32499999999999</c:v>
                </c:pt>
                <c:pt idx="358">
                  <c:v>180.98</c:v>
                </c:pt>
                <c:pt idx="359">
                  <c:v>183.983</c:v>
                </c:pt>
                <c:pt idx="360">
                  <c:v>182.47</c:v>
                </c:pt>
                <c:pt idx="361">
                  <c:v>178.66</c:v>
                </c:pt>
                <c:pt idx="362">
                  <c:v>175.49299999999999</c:v>
                </c:pt>
                <c:pt idx="363">
                  <c:v>180.815</c:v>
                </c:pt>
                <c:pt idx="364">
                  <c:v>177.99299999999999</c:v>
                </c:pt>
                <c:pt idx="365">
                  <c:v>176.178</c:v>
                </c:pt>
                <c:pt idx="366">
                  <c:v>176.83799999999999</c:v>
                </c:pt>
                <c:pt idx="367">
                  <c:v>176.83799999999999</c:v>
                </c:pt>
                <c:pt idx="368">
                  <c:v>174.625</c:v>
                </c:pt>
                <c:pt idx="369">
                  <c:v>175.678</c:v>
                </c:pt>
                <c:pt idx="370">
                  <c:v>177.34299999999999</c:v>
                </c:pt>
                <c:pt idx="371">
                  <c:v>178.00299999999999</c:v>
                </c:pt>
                <c:pt idx="372">
                  <c:v>178.17500000000001</c:v>
                </c:pt>
                <c:pt idx="373">
                  <c:v>178.33500000000001</c:v>
                </c:pt>
                <c:pt idx="374">
                  <c:v>175.5</c:v>
                </c:pt>
                <c:pt idx="375">
                  <c:v>174.17</c:v>
                </c:pt>
                <c:pt idx="376">
                  <c:v>178.328</c:v>
                </c:pt>
                <c:pt idx="377">
                  <c:v>177.00299999999999</c:v>
                </c:pt>
                <c:pt idx="378">
                  <c:v>177.655</c:v>
                </c:pt>
                <c:pt idx="379">
                  <c:v>178.173</c:v>
                </c:pt>
                <c:pt idx="380">
                  <c:v>179.99799999999999</c:v>
                </c:pt>
                <c:pt idx="381">
                  <c:v>180.83500000000001</c:v>
                </c:pt>
                <c:pt idx="382">
                  <c:v>185.81800000000001</c:v>
                </c:pt>
                <c:pt idx="383">
                  <c:v>182.505</c:v>
                </c:pt>
                <c:pt idx="384">
                  <c:v>183.66800000000001</c:v>
                </c:pt>
                <c:pt idx="385">
                  <c:v>180.673</c:v>
                </c:pt>
                <c:pt idx="386">
                  <c:v>179.66499999999999</c:v>
                </c:pt>
                <c:pt idx="387">
                  <c:v>171.83500000000001</c:v>
                </c:pt>
                <c:pt idx="388">
                  <c:v>174.33799999999999</c:v>
                </c:pt>
                <c:pt idx="389">
                  <c:v>176.495</c:v>
                </c:pt>
                <c:pt idx="390">
                  <c:v>175.66</c:v>
                </c:pt>
                <c:pt idx="391">
                  <c:v>173.83500000000001</c:v>
                </c:pt>
                <c:pt idx="392">
                  <c:v>185.32300000000001</c:v>
                </c:pt>
                <c:pt idx="393">
                  <c:v>189.15299999999999</c:v>
                </c:pt>
                <c:pt idx="394">
                  <c:v>187.82300000000001</c:v>
                </c:pt>
                <c:pt idx="395">
                  <c:v>194.155</c:v>
                </c:pt>
                <c:pt idx="396">
                  <c:v>196.49</c:v>
                </c:pt>
                <c:pt idx="397">
                  <c:v>199.32499999999999</c:v>
                </c:pt>
                <c:pt idx="398">
                  <c:v>203.32300000000001</c:v>
                </c:pt>
                <c:pt idx="399">
                  <c:v>197.66300000000001</c:v>
                </c:pt>
                <c:pt idx="400">
                  <c:v>197.49799999999999</c:v>
                </c:pt>
                <c:pt idx="401">
                  <c:v>189.16800000000001</c:v>
                </c:pt>
                <c:pt idx="402">
                  <c:v>182.31800000000001</c:v>
                </c:pt>
                <c:pt idx="403">
                  <c:v>186.333</c:v>
                </c:pt>
                <c:pt idx="404">
                  <c:v>184.75</c:v>
                </c:pt>
                <c:pt idx="405">
                  <c:v>179.375</c:v>
                </c:pt>
                <c:pt idx="406">
                  <c:v>184.828</c:v>
                </c:pt>
                <c:pt idx="407">
                  <c:v>182.65299999999999</c:v>
                </c:pt>
                <c:pt idx="408">
                  <c:v>184.99299999999999</c:v>
                </c:pt>
                <c:pt idx="409">
                  <c:v>183.238</c:v>
                </c:pt>
                <c:pt idx="410">
                  <c:v>179.16499999999999</c:v>
                </c:pt>
                <c:pt idx="411">
                  <c:v>177.25</c:v>
                </c:pt>
                <c:pt idx="412">
                  <c:v>181.33799999999999</c:v>
                </c:pt>
                <c:pt idx="413">
                  <c:v>178.32300000000001</c:v>
                </c:pt>
                <c:pt idx="414">
                  <c:v>176.50800000000001</c:v>
                </c:pt>
                <c:pt idx="415">
                  <c:v>178.005</c:v>
                </c:pt>
                <c:pt idx="416">
                  <c:v>173.00299999999999</c:v>
                </c:pt>
                <c:pt idx="417">
                  <c:v>170.65799999999999</c:v>
                </c:pt>
                <c:pt idx="418">
                  <c:v>168.845</c:v>
                </c:pt>
                <c:pt idx="419">
                  <c:v>171.148</c:v>
                </c:pt>
                <c:pt idx="420">
                  <c:v>176.65799999999999</c:v>
                </c:pt>
                <c:pt idx="421">
                  <c:v>177.49</c:v>
                </c:pt>
                <c:pt idx="422">
                  <c:v>177.00299999999999</c:v>
                </c:pt>
                <c:pt idx="423">
                  <c:v>184.00299999999999</c:v>
                </c:pt>
                <c:pt idx="424">
                  <c:v>187.00299999999999</c:v>
                </c:pt>
                <c:pt idx="425">
                  <c:v>184.99799999999999</c:v>
                </c:pt>
                <c:pt idx="426">
                  <c:v>182.84</c:v>
                </c:pt>
                <c:pt idx="427">
                  <c:v>184.51499999999999</c:v>
                </c:pt>
                <c:pt idx="428">
                  <c:v>180.33799999999999</c:v>
                </c:pt>
                <c:pt idx="429">
                  <c:v>191.33500000000001</c:v>
                </c:pt>
                <c:pt idx="430">
                  <c:v>192.83799999999999</c:v>
                </c:pt>
                <c:pt idx="431">
                  <c:v>194.33799999999999</c:v>
                </c:pt>
                <c:pt idx="432">
                  <c:v>197.49799999999999</c:v>
                </c:pt>
                <c:pt idx="433">
                  <c:v>199.75</c:v>
                </c:pt>
                <c:pt idx="434">
                  <c:v>204.83</c:v>
                </c:pt>
                <c:pt idx="435">
                  <c:v>208.32300000000001</c:v>
                </c:pt>
                <c:pt idx="436">
                  <c:v>204.82499999999999</c:v>
                </c:pt>
                <c:pt idx="437">
                  <c:v>207.49</c:v>
                </c:pt>
                <c:pt idx="438">
                  <c:v>204.83799999999999</c:v>
                </c:pt>
                <c:pt idx="439">
                  <c:v>194.33</c:v>
                </c:pt>
                <c:pt idx="440">
                  <c:v>195.82</c:v>
                </c:pt>
                <c:pt idx="441">
                  <c:v>201.875</c:v>
                </c:pt>
                <c:pt idx="442">
                  <c:v>194.375</c:v>
                </c:pt>
                <c:pt idx="443">
                  <c:v>201.32300000000001</c:v>
                </c:pt>
                <c:pt idx="444">
                  <c:v>200.505</c:v>
                </c:pt>
                <c:pt idx="445">
                  <c:v>199.32</c:v>
                </c:pt>
                <c:pt idx="446">
                  <c:v>203.25</c:v>
                </c:pt>
                <c:pt idx="447">
                  <c:v>203.125</c:v>
                </c:pt>
                <c:pt idx="448">
                  <c:v>190.51</c:v>
                </c:pt>
                <c:pt idx="449">
                  <c:v>191.155</c:v>
                </c:pt>
                <c:pt idx="450">
                  <c:v>183.75</c:v>
                </c:pt>
                <c:pt idx="451">
                  <c:v>184.75</c:v>
                </c:pt>
                <c:pt idx="452">
                  <c:v>185.5</c:v>
                </c:pt>
                <c:pt idx="453">
                  <c:v>184.16</c:v>
                </c:pt>
                <c:pt idx="454">
                  <c:v>183.65799999999999</c:v>
                </c:pt>
                <c:pt idx="455">
                  <c:v>178.16</c:v>
                </c:pt>
                <c:pt idx="456">
                  <c:v>177.48500000000001</c:v>
                </c:pt>
                <c:pt idx="457">
                  <c:v>173.678</c:v>
                </c:pt>
                <c:pt idx="458">
                  <c:v>173.49299999999999</c:v>
                </c:pt>
                <c:pt idx="459">
                  <c:v>175.333</c:v>
                </c:pt>
                <c:pt idx="460">
                  <c:v>178.15799999999999</c:v>
                </c:pt>
                <c:pt idx="461">
                  <c:v>179</c:v>
                </c:pt>
                <c:pt idx="462">
                  <c:v>179.49299999999999</c:v>
                </c:pt>
                <c:pt idx="463">
                  <c:v>180.32499999999999</c:v>
                </c:pt>
                <c:pt idx="464">
                  <c:v>175.005</c:v>
                </c:pt>
                <c:pt idx="465">
                  <c:v>176.99299999999999</c:v>
                </c:pt>
                <c:pt idx="466">
                  <c:v>174.488</c:v>
                </c:pt>
                <c:pt idx="467">
                  <c:v>172.988</c:v>
                </c:pt>
                <c:pt idx="468">
                  <c:v>175.5</c:v>
                </c:pt>
                <c:pt idx="469">
                  <c:v>175.673</c:v>
                </c:pt>
                <c:pt idx="470">
                  <c:v>172.84299999999999</c:v>
                </c:pt>
                <c:pt idx="471">
                  <c:v>171.67</c:v>
                </c:pt>
                <c:pt idx="472">
                  <c:v>169</c:v>
                </c:pt>
                <c:pt idx="473">
                  <c:v>167.625</c:v>
                </c:pt>
                <c:pt idx="474">
                  <c:v>168.625</c:v>
                </c:pt>
                <c:pt idx="475">
                  <c:v>168.49799999999999</c:v>
                </c:pt>
                <c:pt idx="476">
                  <c:v>166.833</c:v>
                </c:pt>
                <c:pt idx="477">
                  <c:v>166.16300000000001</c:v>
                </c:pt>
                <c:pt idx="478">
                  <c:v>163</c:v>
                </c:pt>
                <c:pt idx="479">
                  <c:v>160.83000000000001</c:v>
                </c:pt>
                <c:pt idx="480">
                  <c:v>155.16300000000001</c:v>
                </c:pt>
                <c:pt idx="481">
                  <c:v>157.66300000000001</c:v>
                </c:pt>
                <c:pt idx="482">
                  <c:v>156</c:v>
                </c:pt>
                <c:pt idx="483">
                  <c:v>159.113</c:v>
                </c:pt>
                <c:pt idx="484">
                  <c:v>164.625</c:v>
                </c:pt>
                <c:pt idx="485">
                  <c:v>172.09899999999999</c:v>
                </c:pt>
                <c:pt idx="486">
                  <c:v>180.40199999999999</c:v>
                </c:pt>
                <c:pt idx="487">
                  <c:v>176.40100000000001</c:v>
                </c:pt>
                <c:pt idx="488">
                  <c:v>195.03</c:v>
                </c:pt>
                <c:pt idx="489">
                  <c:v>214.309</c:v>
                </c:pt>
                <c:pt idx="490">
                  <c:v>220.82</c:v>
                </c:pt>
                <c:pt idx="491">
                  <c:v>191.97399999999999</c:v>
                </c:pt>
                <c:pt idx="492">
                  <c:v>182.49700000000001</c:v>
                </c:pt>
                <c:pt idx="493">
                  <c:v>181.286</c:v>
                </c:pt>
                <c:pt idx="494">
                  <c:v>179.804</c:v>
                </c:pt>
                <c:pt idx="495">
                  <c:v>176.786</c:v>
                </c:pt>
                <c:pt idx="496">
                  <c:v>178.27099999999999</c:v>
                </c:pt>
                <c:pt idx="497">
                  <c:v>178.08</c:v>
                </c:pt>
                <c:pt idx="498">
                  <c:v>178.16</c:v>
                </c:pt>
                <c:pt idx="499">
                  <c:v>177.94900000000001</c:v>
                </c:pt>
                <c:pt idx="500">
                  <c:v>176.803</c:v>
                </c:pt>
                <c:pt idx="501">
                  <c:v>184.43700000000001</c:v>
                </c:pt>
                <c:pt idx="502">
                  <c:v>183.577</c:v>
                </c:pt>
                <c:pt idx="503">
                  <c:v>183.709</c:v>
                </c:pt>
                <c:pt idx="504">
                  <c:v>192.29400000000001</c:v>
                </c:pt>
                <c:pt idx="505">
                  <c:v>193.4</c:v>
                </c:pt>
                <c:pt idx="506">
                  <c:v>189.298</c:v>
                </c:pt>
                <c:pt idx="507">
                  <c:v>182.32400000000001</c:v>
                </c:pt>
                <c:pt idx="508">
                  <c:v>187.91300000000001</c:v>
                </c:pt>
                <c:pt idx="509">
                  <c:v>189.096</c:v>
                </c:pt>
                <c:pt idx="510">
                  <c:v>183.70500000000001</c:v>
                </c:pt>
                <c:pt idx="511">
                  <c:v>178.30699999999999</c:v>
                </c:pt>
                <c:pt idx="512">
                  <c:v>177.20500000000001</c:v>
                </c:pt>
                <c:pt idx="513">
                  <c:v>184.898</c:v>
                </c:pt>
                <c:pt idx="514">
                  <c:v>184.70099999999999</c:v>
                </c:pt>
                <c:pt idx="515">
                  <c:v>184.49799999999999</c:v>
                </c:pt>
                <c:pt idx="516">
                  <c:v>184.46199999999999</c:v>
                </c:pt>
                <c:pt idx="517">
                  <c:v>180.196</c:v>
                </c:pt>
                <c:pt idx="518">
                  <c:v>177.50399999999999</c:v>
                </c:pt>
                <c:pt idx="519">
                  <c:v>181.197</c:v>
                </c:pt>
                <c:pt idx="520">
                  <c:v>180.745</c:v>
                </c:pt>
                <c:pt idx="521">
                  <c:v>180.90299999999999</c:v>
                </c:pt>
                <c:pt idx="522">
                  <c:v>185.30600000000001</c:v>
                </c:pt>
                <c:pt idx="523">
                  <c:v>192.25200000000001</c:v>
                </c:pt>
                <c:pt idx="524">
                  <c:v>188.352</c:v>
                </c:pt>
                <c:pt idx="525">
                  <c:v>184.06800000000001</c:v>
                </c:pt>
                <c:pt idx="526">
                  <c:v>189.5</c:v>
                </c:pt>
                <c:pt idx="527">
                  <c:v>188.261</c:v>
                </c:pt>
                <c:pt idx="528">
                  <c:v>192.77699999999999</c:v>
                </c:pt>
                <c:pt idx="529">
                  <c:v>197.93299999999999</c:v>
                </c:pt>
                <c:pt idx="530">
                  <c:v>204.47800000000001</c:v>
                </c:pt>
                <c:pt idx="531">
                  <c:v>202.58199999999999</c:v>
                </c:pt>
                <c:pt idx="532">
                  <c:v>190.28800000000001</c:v>
                </c:pt>
                <c:pt idx="533">
                  <c:v>190.02500000000001</c:v>
                </c:pt>
                <c:pt idx="534">
                  <c:v>189.625</c:v>
                </c:pt>
                <c:pt idx="535">
                  <c:v>188.09700000000001</c:v>
                </c:pt>
                <c:pt idx="536">
                  <c:v>188.23599999999999</c:v>
                </c:pt>
                <c:pt idx="537">
                  <c:v>186.614</c:v>
                </c:pt>
                <c:pt idx="538">
                  <c:v>186.83</c:v>
                </c:pt>
                <c:pt idx="539">
                  <c:v>188.32400000000001</c:v>
                </c:pt>
                <c:pt idx="540">
                  <c:v>187.178</c:v>
                </c:pt>
                <c:pt idx="541">
                  <c:v>190.17</c:v>
                </c:pt>
                <c:pt idx="542">
                  <c:v>189.74799999999999</c:v>
                </c:pt>
                <c:pt idx="543">
                  <c:v>203.08199999999999</c:v>
                </c:pt>
                <c:pt idx="544">
                  <c:v>201.24799999999999</c:v>
                </c:pt>
                <c:pt idx="545">
                  <c:v>201.49700000000001</c:v>
                </c:pt>
                <c:pt idx="546">
                  <c:v>210.91300000000001</c:v>
                </c:pt>
                <c:pt idx="547">
                  <c:v>214.75399999999999</c:v>
                </c:pt>
                <c:pt idx="548">
                  <c:v>218.001</c:v>
                </c:pt>
                <c:pt idx="549">
                  <c:v>217.67</c:v>
                </c:pt>
                <c:pt idx="550">
                  <c:v>228.202</c:v>
                </c:pt>
                <c:pt idx="551">
                  <c:v>219.79499999999999</c:v>
                </c:pt>
                <c:pt idx="552">
                  <c:v>215.51</c:v>
                </c:pt>
                <c:pt idx="553">
                  <c:v>220.83600000000001</c:v>
                </c:pt>
                <c:pt idx="554">
                  <c:v>214.90799999999999</c:v>
                </c:pt>
                <c:pt idx="555">
                  <c:v>210.381</c:v>
                </c:pt>
                <c:pt idx="556">
                  <c:v>212.18199999999999</c:v>
                </c:pt>
                <c:pt idx="557">
                  <c:v>208.334</c:v>
                </c:pt>
                <c:pt idx="558">
                  <c:v>210.035</c:v>
                </c:pt>
                <c:pt idx="559">
                  <c:v>206.08699999999999</c:v>
                </c:pt>
                <c:pt idx="560">
                  <c:v>210.67</c:v>
                </c:pt>
                <c:pt idx="561">
                  <c:v>214.69499999999999</c:v>
                </c:pt>
                <c:pt idx="562">
                  <c:v>219.08699999999999</c:v>
                </c:pt>
                <c:pt idx="563">
                  <c:v>217.41499999999999</c:v>
                </c:pt>
                <c:pt idx="564">
                  <c:v>217.608</c:v>
                </c:pt>
                <c:pt idx="565">
                  <c:v>215.654</c:v>
                </c:pt>
                <c:pt idx="566">
                  <c:v>216.50200000000001</c:v>
                </c:pt>
                <c:pt idx="567">
                  <c:v>215.947</c:v>
                </c:pt>
                <c:pt idx="568">
                  <c:v>216.06</c:v>
                </c:pt>
                <c:pt idx="569">
                  <c:v>215.89099999999999</c:v>
                </c:pt>
                <c:pt idx="570">
                  <c:v>215.27199999999999</c:v>
                </c:pt>
                <c:pt idx="571">
                  <c:v>209.245</c:v>
                </c:pt>
                <c:pt idx="572">
                  <c:v>210.178</c:v>
                </c:pt>
                <c:pt idx="573">
                  <c:v>214.21100000000001</c:v>
                </c:pt>
                <c:pt idx="574">
                  <c:v>218.45699999999999</c:v>
                </c:pt>
                <c:pt idx="575">
                  <c:v>222.92400000000001</c:v>
                </c:pt>
                <c:pt idx="576">
                  <c:v>232.75399999999999</c:v>
                </c:pt>
                <c:pt idx="577">
                  <c:v>231.17099999999999</c:v>
                </c:pt>
                <c:pt idx="578">
                  <c:v>231.25</c:v>
                </c:pt>
                <c:pt idx="579">
                  <c:v>232.916</c:v>
                </c:pt>
                <c:pt idx="580">
                  <c:v>229.67</c:v>
                </c:pt>
                <c:pt idx="581">
                  <c:v>231.58799999999999</c:v>
                </c:pt>
                <c:pt idx="582">
                  <c:v>229.47900000000001</c:v>
                </c:pt>
                <c:pt idx="583">
                  <c:v>229.084</c:v>
                </c:pt>
                <c:pt idx="584">
                  <c:v>222.74299999999999</c:v>
                </c:pt>
                <c:pt idx="585">
                  <c:v>219.17</c:v>
                </c:pt>
                <c:pt idx="586">
                  <c:v>221.411</c:v>
                </c:pt>
                <c:pt idx="587">
                  <c:v>224.75</c:v>
                </c:pt>
                <c:pt idx="588">
                  <c:v>224.52</c:v>
                </c:pt>
                <c:pt idx="589">
                  <c:v>224.98599999999999</c:v>
                </c:pt>
                <c:pt idx="590">
                  <c:v>225.08699999999999</c:v>
                </c:pt>
                <c:pt idx="591">
                  <c:v>222.001</c:v>
                </c:pt>
                <c:pt idx="592">
                  <c:v>222.584</c:v>
                </c:pt>
                <c:pt idx="593">
                  <c:v>219.82900000000001</c:v>
                </c:pt>
                <c:pt idx="594">
                  <c:v>217.58600000000001</c:v>
                </c:pt>
                <c:pt idx="595">
                  <c:v>218.74600000000001</c:v>
                </c:pt>
                <c:pt idx="596">
                  <c:v>213.91900000000001</c:v>
                </c:pt>
                <c:pt idx="597">
                  <c:v>212.00800000000001</c:v>
                </c:pt>
                <c:pt idx="598">
                  <c:v>208.751</c:v>
                </c:pt>
                <c:pt idx="599">
                  <c:v>208.83500000000001</c:v>
                </c:pt>
                <c:pt idx="600">
                  <c:v>207.20099999999999</c:v>
                </c:pt>
                <c:pt idx="601">
                  <c:v>205.83500000000001</c:v>
                </c:pt>
                <c:pt idx="602">
                  <c:v>205.42099999999999</c:v>
                </c:pt>
                <c:pt idx="603">
                  <c:v>203.14</c:v>
                </c:pt>
                <c:pt idx="604">
                  <c:v>202.476</c:v>
                </c:pt>
                <c:pt idx="605">
                  <c:v>207.82900000000001</c:v>
                </c:pt>
                <c:pt idx="606">
                  <c:v>211.297</c:v>
                </c:pt>
                <c:pt idx="607">
                  <c:v>211.65</c:v>
                </c:pt>
                <c:pt idx="608">
                  <c:v>210.76499999999999</c:v>
                </c:pt>
                <c:pt idx="609">
                  <c:v>214.59100000000001</c:v>
                </c:pt>
                <c:pt idx="610">
                  <c:v>213.91399999999999</c:v>
                </c:pt>
                <c:pt idx="611">
                  <c:v>214.417</c:v>
                </c:pt>
                <c:pt idx="612">
                  <c:v>215.74799999999999</c:v>
                </c:pt>
                <c:pt idx="613">
                  <c:v>218.251</c:v>
                </c:pt>
                <c:pt idx="614">
                  <c:v>233.50399999999999</c:v>
                </c:pt>
                <c:pt idx="615">
                  <c:v>235.33500000000001</c:v>
                </c:pt>
                <c:pt idx="616">
                  <c:v>233.6</c:v>
                </c:pt>
                <c:pt idx="617">
                  <c:v>227.24700000000001</c:v>
                </c:pt>
                <c:pt idx="618">
                  <c:v>228.749</c:v>
                </c:pt>
                <c:pt idx="619">
                  <c:v>234.65299999999999</c:v>
                </c:pt>
                <c:pt idx="620">
                  <c:v>236.08799999999999</c:v>
                </c:pt>
                <c:pt idx="621">
                  <c:v>235.751</c:v>
                </c:pt>
                <c:pt idx="622">
                  <c:v>228.16900000000001</c:v>
                </c:pt>
                <c:pt idx="623">
                  <c:v>224.535</c:v>
                </c:pt>
                <c:pt idx="624">
                  <c:v>224.17</c:v>
                </c:pt>
                <c:pt idx="625">
                  <c:v>218.24799999999999</c:v>
                </c:pt>
                <c:pt idx="626">
                  <c:v>218.41900000000001</c:v>
                </c:pt>
                <c:pt idx="627">
                  <c:v>216.91800000000001</c:v>
                </c:pt>
                <c:pt idx="628">
                  <c:v>216.35300000000001</c:v>
                </c:pt>
                <c:pt idx="629">
                  <c:v>224.91800000000001</c:v>
                </c:pt>
                <c:pt idx="630">
                  <c:v>225.10599999999999</c:v>
                </c:pt>
                <c:pt idx="631">
                  <c:v>218.75399999999999</c:v>
                </c:pt>
                <c:pt idx="632">
                  <c:v>219.916</c:v>
                </c:pt>
                <c:pt idx="633">
                  <c:v>219.679</c:v>
                </c:pt>
                <c:pt idx="634">
                  <c:v>222.584</c:v>
                </c:pt>
                <c:pt idx="635">
                  <c:v>227.005</c:v>
                </c:pt>
                <c:pt idx="636">
                  <c:v>226.102</c:v>
                </c:pt>
                <c:pt idx="637">
                  <c:v>221.501</c:v>
                </c:pt>
                <c:pt idx="638">
                  <c:v>214.33099999999999</c:v>
                </c:pt>
                <c:pt idx="639">
                  <c:v>208.49700000000001</c:v>
                </c:pt>
                <c:pt idx="640">
                  <c:v>209.905</c:v>
                </c:pt>
                <c:pt idx="641">
                  <c:v>214.398</c:v>
                </c:pt>
                <c:pt idx="642">
                  <c:v>212.416</c:v>
                </c:pt>
                <c:pt idx="643">
                  <c:v>210.59700000000001</c:v>
                </c:pt>
                <c:pt idx="644">
                  <c:v>215.2</c:v>
                </c:pt>
                <c:pt idx="645">
                  <c:v>212.65700000000001</c:v>
                </c:pt>
                <c:pt idx="646">
                  <c:v>217.363</c:v>
                </c:pt>
                <c:pt idx="647">
                  <c:v>223.46899999999999</c:v>
                </c:pt>
                <c:pt idx="648">
                  <c:v>225.434</c:v>
                </c:pt>
                <c:pt idx="649">
                  <c:v>240.75299999999999</c:v>
                </c:pt>
                <c:pt idx="650">
                  <c:v>238.452</c:v>
                </c:pt>
                <c:pt idx="651">
                  <c:v>235.20599999999999</c:v>
                </c:pt>
                <c:pt idx="652">
                  <c:v>237.721</c:v>
                </c:pt>
                <c:pt idx="653">
                  <c:v>236.089</c:v>
                </c:pt>
                <c:pt idx="654">
                  <c:v>239.923</c:v>
                </c:pt>
                <c:pt idx="655">
                  <c:v>240.084</c:v>
                </c:pt>
                <c:pt idx="656">
                  <c:v>239.42400000000001</c:v>
                </c:pt>
                <c:pt idx="657">
                  <c:v>244.084</c:v>
                </c:pt>
                <c:pt idx="658">
                  <c:v>246.905</c:v>
                </c:pt>
                <c:pt idx="659">
                  <c:v>247.834</c:v>
                </c:pt>
                <c:pt idx="660">
                  <c:v>246.75200000000001</c:v>
                </c:pt>
                <c:pt idx="661">
                  <c:v>251.33699999999999</c:v>
                </c:pt>
                <c:pt idx="662">
                  <c:v>256.16500000000002</c:v>
                </c:pt>
                <c:pt idx="663">
                  <c:v>258.57499999999999</c:v>
                </c:pt>
                <c:pt idx="664">
                  <c:v>264.15300000000002</c:v>
                </c:pt>
                <c:pt idx="665">
                  <c:v>265.38299999999998</c:v>
                </c:pt>
                <c:pt idx="666">
                  <c:v>275.18700000000001</c:v>
                </c:pt>
                <c:pt idx="667">
                  <c:v>277.38200000000001</c:v>
                </c:pt>
                <c:pt idx="668">
                  <c:v>279.90499999999997</c:v>
                </c:pt>
                <c:pt idx="669">
                  <c:v>295.00299999999999</c:v>
                </c:pt>
                <c:pt idx="670">
                  <c:v>277.06</c:v>
                </c:pt>
                <c:pt idx="671">
                  <c:v>271.274</c:v>
                </c:pt>
                <c:pt idx="672">
                  <c:v>260.48099999999999</c:v>
                </c:pt>
                <c:pt idx="673">
                  <c:v>262.3</c:v>
                </c:pt>
                <c:pt idx="674">
                  <c:v>262.26900000000001</c:v>
                </c:pt>
                <c:pt idx="675">
                  <c:v>276.83699999999999</c:v>
                </c:pt>
                <c:pt idx="676">
                  <c:v>282.755</c:v>
                </c:pt>
                <c:pt idx="677">
                  <c:v>272.91899999999998</c:v>
                </c:pt>
                <c:pt idx="678">
                  <c:v>280.33999999999997</c:v>
                </c:pt>
                <c:pt idx="679">
                  <c:v>283.30200000000002</c:v>
                </c:pt>
                <c:pt idx="680">
                  <c:v>281.41699999999997</c:v>
                </c:pt>
                <c:pt idx="681">
                  <c:v>282.41699999999997</c:v>
                </c:pt>
                <c:pt idx="682">
                  <c:v>292.91399999999999</c:v>
                </c:pt>
                <c:pt idx="683">
                  <c:v>294.35399999999998</c:v>
                </c:pt>
                <c:pt idx="684">
                  <c:v>295.363</c:v>
                </c:pt>
                <c:pt idx="685">
                  <c:v>284.35899999999998</c:v>
                </c:pt>
                <c:pt idx="686">
                  <c:v>269.19600000000003</c:v>
                </c:pt>
                <c:pt idx="687">
                  <c:v>274.334</c:v>
                </c:pt>
                <c:pt idx="688">
                  <c:v>270.97300000000001</c:v>
                </c:pt>
                <c:pt idx="689">
                  <c:v>273.30799999999999</c:v>
                </c:pt>
                <c:pt idx="690">
                  <c:v>293.505</c:v>
                </c:pt>
                <c:pt idx="691">
                  <c:v>299.10500000000002</c:v>
                </c:pt>
                <c:pt idx="692">
                  <c:v>311.62700000000001</c:v>
                </c:pt>
                <c:pt idx="693">
                  <c:v>304.649</c:v>
                </c:pt>
                <c:pt idx="694">
                  <c:v>324.09399999999999</c:v>
                </c:pt>
                <c:pt idx="695">
                  <c:v>327.09699999999998</c:v>
                </c:pt>
                <c:pt idx="696">
                  <c:v>312.25099999999998</c:v>
                </c:pt>
                <c:pt idx="697">
                  <c:v>313.09899999999999</c:v>
                </c:pt>
                <c:pt idx="698">
                  <c:v>313.572</c:v>
                </c:pt>
                <c:pt idx="699">
                  <c:v>291.495</c:v>
                </c:pt>
                <c:pt idx="700">
                  <c:v>286.91899999999998</c:v>
                </c:pt>
                <c:pt idx="701">
                  <c:v>277.11599999999999</c:v>
                </c:pt>
                <c:pt idx="702">
                  <c:v>272.74099999999999</c:v>
                </c:pt>
                <c:pt idx="703">
                  <c:v>265.58800000000002</c:v>
                </c:pt>
                <c:pt idx="704">
                  <c:v>270.065</c:v>
                </c:pt>
                <c:pt idx="705">
                  <c:v>281.08600000000001</c:v>
                </c:pt>
                <c:pt idx="706">
                  <c:v>280.08699999999999</c:v>
                </c:pt>
                <c:pt idx="707">
                  <c:v>269.66699999999997</c:v>
                </c:pt>
                <c:pt idx="708">
                  <c:v>258.41000000000003</c:v>
                </c:pt>
                <c:pt idx="709">
                  <c:v>260.46199999999999</c:v>
                </c:pt>
                <c:pt idx="710">
                  <c:v>260.08699999999999</c:v>
                </c:pt>
                <c:pt idx="711">
                  <c:v>263.41000000000003</c:v>
                </c:pt>
                <c:pt idx="712">
                  <c:v>254.589</c:v>
                </c:pt>
                <c:pt idx="713">
                  <c:v>250.75200000000001</c:v>
                </c:pt>
                <c:pt idx="714">
                  <c:v>248.08699999999999</c:v>
                </c:pt>
                <c:pt idx="715">
                  <c:v>252.83699999999999</c:v>
                </c:pt>
                <c:pt idx="716">
                  <c:v>249.30600000000001</c:v>
                </c:pt>
                <c:pt idx="717">
                  <c:v>254.59299999999999</c:v>
                </c:pt>
                <c:pt idx="718">
                  <c:v>253.24799999999999</c:v>
                </c:pt>
                <c:pt idx="719">
                  <c:v>239.25899999999999</c:v>
                </c:pt>
                <c:pt idx="720">
                  <c:v>238.04300000000001</c:v>
                </c:pt>
                <c:pt idx="721">
                  <c:v>237.74799999999999</c:v>
                </c:pt>
                <c:pt idx="722">
                  <c:v>245.77500000000001</c:v>
                </c:pt>
                <c:pt idx="723">
                  <c:v>253.31899999999999</c:v>
                </c:pt>
                <c:pt idx="724">
                  <c:v>259.41899999999998</c:v>
                </c:pt>
                <c:pt idx="725">
                  <c:v>258.596</c:v>
                </c:pt>
                <c:pt idx="726">
                  <c:v>252.626</c:v>
                </c:pt>
                <c:pt idx="727">
                  <c:v>251.178</c:v>
                </c:pt>
                <c:pt idx="728">
                  <c:v>253.679</c:v>
                </c:pt>
                <c:pt idx="729">
                  <c:v>256.90899999999999</c:v>
                </c:pt>
                <c:pt idx="730">
                  <c:v>245.51900000000001</c:v>
                </c:pt>
                <c:pt idx="731">
                  <c:v>242.166</c:v>
                </c:pt>
                <c:pt idx="732">
                  <c:v>240.14500000000001</c:v>
                </c:pt>
                <c:pt idx="733">
                  <c:v>241</c:v>
                </c:pt>
                <c:pt idx="734">
                  <c:v>244.91499999999999</c:v>
                </c:pt>
                <c:pt idx="735">
                  <c:v>252.50299999999999</c:v>
                </c:pt>
                <c:pt idx="736">
                  <c:v>254.072</c:v>
                </c:pt>
                <c:pt idx="737">
                  <c:v>254.02099999999999</c:v>
                </c:pt>
                <c:pt idx="738">
                  <c:v>256.96699999999998</c:v>
                </c:pt>
                <c:pt idx="739">
                  <c:v>261.12700000000001</c:v>
                </c:pt>
                <c:pt idx="740">
                  <c:v>258.678</c:v>
                </c:pt>
                <c:pt idx="741">
                  <c:v>257.87799999999999</c:v>
                </c:pt>
                <c:pt idx="742">
                  <c:v>261.916</c:v>
                </c:pt>
                <c:pt idx="743">
                  <c:v>269.15300000000002</c:v>
                </c:pt>
                <c:pt idx="744">
                  <c:v>275.08600000000001</c:v>
                </c:pt>
                <c:pt idx="745">
                  <c:v>277.125</c:v>
                </c:pt>
                <c:pt idx="746">
                  <c:v>277.67500000000001</c:v>
                </c:pt>
                <c:pt idx="747">
                  <c:v>279.72399999999999</c:v>
                </c:pt>
                <c:pt idx="748">
                  <c:v>289.71899999999999</c:v>
                </c:pt>
                <c:pt idx="749">
                  <c:v>289.07299999999998</c:v>
                </c:pt>
                <c:pt idx="750">
                  <c:v>275.41300000000001</c:v>
                </c:pt>
                <c:pt idx="751">
                  <c:v>271.99900000000002</c:v>
                </c:pt>
                <c:pt idx="752">
                  <c:v>265.42099999999999</c:v>
                </c:pt>
                <c:pt idx="753">
                  <c:v>266.41800000000001</c:v>
                </c:pt>
                <c:pt idx="754">
                  <c:v>267.31599999999997</c:v>
                </c:pt>
                <c:pt idx="755">
                  <c:v>270.35199999999998</c:v>
                </c:pt>
                <c:pt idx="756">
                  <c:v>270.28199999999998</c:v>
                </c:pt>
                <c:pt idx="757">
                  <c:v>269.99200000000002</c:v>
                </c:pt>
                <c:pt idx="758">
                  <c:v>269.11099999999999</c:v>
                </c:pt>
                <c:pt idx="759">
                  <c:v>271.15800000000002</c:v>
                </c:pt>
                <c:pt idx="760">
                  <c:v>273.19499999999999</c:v>
                </c:pt>
                <c:pt idx="761">
                  <c:v>273.03899999999999</c:v>
                </c:pt>
                <c:pt idx="762">
                  <c:v>273.56200000000001</c:v>
                </c:pt>
                <c:pt idx="763">
                  <c:v>273.63499999999999</c:v>
                </c:pt>
                <c:pt idx="764">
                  <c:v>281.64</c:v>
                </c:pt>
                <c:pt idx="765">
                  <c:v>283.02699999999999</c:v>
                </c:pt>
                <c:pt idx="766">
                  <c:v>290.80099999999999</c:v>
                </c:pt>
                <c:pt idx="767">
                  <c:v>297.46899999999999</c:v>
                </c:pt>
                <c:pt idx="768">
                  <c:v>302.88400000000001</c:v>
                </c:pt>
                <c:pt idx="769">
                  <c:v>307.39400000000001</c:v>
                </c:pt>
                <c:pt idx="770">
                  <c:v>306.56200000000001</c:v>
                </c:pt>
                <c:pt idx="771">
                  <c:v>299.392</c:v>
                </c:pt>
                <c:pt idx="772">
                  <c:v>302.8</c:v>
                </c:pt>
                <c:pt idx="773">
                  <c:v>307.98599999999999</c:v>
                </c:pt>
                <c:pt idx="774">
                  <c:v>314.27499999999998</c:v>
                </c:pt>
                <c:pt idx="775">
                  <c:v>304.988</c:v>
                </c:pt>
                <c:pt idx="776">
                  <c:v>313.72000000000003</c:v>
                </c:pt>
                <c:pt idx="777">
                  <c:v>300.14499999999998</c:v>
                </c:pt>
                <c:pt idx="778">
                  <c:v>285.887</c:v>
                </c:pt>
                <c:pt idx="779">
                  <c:v>288.245</c:v>
                </c:pt>
                <c:pt idx="780">
                  <c:v>286.15499999999997</c:v>
                </c:pt>
                <c:pt idx="781">
                  <c:v>275.72399999999999</c:v>
                </c:pt>
                <c:pt idx="782">
                  <c:v>275.642</c:v>
                </c:pt>
                <c:pt idx="783">
                  <c:v>278.05799999999999</c:v>
                </c:pt>
                <c:pt idx="784">
                  <c:v>282.71300000000002</c:v>
                </c:pt>
                <c:pt idx="785">
                  <c:v>290.13099999999997</c:v>
                </c:pt>
                <c:pt idx="786">
                  <c:v>290.79599999999999</c:v>
                </c:pt>
                <c:pt idx="787">
                  <c:v>287.791</c:v>
                </c:pt>
                <c:pt idx="788">
                  <c:v>289.803</c:v>
                </c:pt>
                <c:pt idx="789">
                  <c:v>304.93299999999999</c:v>
                </c:pt>
                <c:pt idx="790">
                  <c:v>302.03800000000001</c:v>
                </c:pt>
                <c:pt idx="791">
                  <c:v>296.55399999999997</c:v>
                </c:pt>
                <c:pt idx="792">
                  <c:v>310.04500000000002</c:v>
                </c:pt>
                <c:pt idx="793">
                  <c:v>301.113</c:v>
                </c:pt>
                <c:pt idx="794">
                  <c:v>303.36200000000002</c:v>
                </c:pt>
                <c:pt idx="795">
                  <c:v>313.12099999999998</c:v>
                </c:pt>
                <c:pt idx="796">
                  <c:v>302.02800000000002</c:v>
                </c:pt>
                <c:pt idx="797">
                  <c:v>308.04899999999998</c:v>
                </c:pt>
                <c:pt idx="798">
                  <c:v>306.74299999999999</c:v>
                </c:pt>
                <c:pt idx="799">
                  <c:v>297.49</c:v>
                </c:pt>
                <c:pt idx="800">
                  <c:v>298.88900000000001</c:v>
                </c:pt>
                <c:pt idx="801">
                  <c:v>306.04700000000003</c:v>
                </c:pt>
                <c:pt idx="802">
                  <c:v>304.93700000000001</c:v>
                </c:pt>
                <c:pt idx="803">
                  <c:v>304.697</c:v>
                </c:pt>
                <c:pt idx="804">
                  <c:v>297.52699999999999</c:v>
                </c:pt>
                <c:pt idx="805">
                  <c:v>286.185</c:v>
                </c:pt>
                <c:pt idx="806">
                  <c:v>285.10500000000002</c:v>
                </c:pt>
                <c:pt idx="807">
                  <c:v>281.23899999999998</c:v>
                </c:pt>
                <c:pt idx="808">
                  <c:v>279.96800000000002</c:v>
                </c:pt>
                <c:pt idx="809">
                  <c:v>279.637</c:v>
                </c:pt>
                <c:pt idx="810">
                  <c:v>281.86500000000001</c:v>
                </c:pt>
                <c:pt idx="811">
                  <c:v>274.90199999999999</c:v>
                </c:pt>
                <c:pt idx="812">
                  <c:v>273.78199999999998</c:v>
                </c:pt>
                <c:pt idx="813">
                  <c:v>253.28200000000001</c:v>
                </c:pt>
                <c:pt idx="814">
                  <c:v>254.923</c:v>
                </c:pt>
                <c:pt idx="815">
                  <c:v>258.16300000000001</c:v>
                </c:pt>
                <c:pt idx="816">
                  <c:v>259.24799999999999</c:v>
                </c:pt>
                <c:pt idx="817">
                  <c:v>248.035</c:v>
                </c:pt>
                <c:pt idx="818">
                  <c:v>242.46700000000001</c:v>
                </c:pt>
                <c:pt idx="819">
                  <c:v>252.084</c:v>
                </c:pt>
                <c:pt idx="820">
                  <c:v>257.08</c:v>
                </c:pt>
                <c:pt idx="821">
                  <c:v>258.49700000000001</c:v>
                </c:pt>
                <c:pt idx="822">
                  <c:v>268.49599999999998</c:v>
                </c:pt>
                <c:pt idx="823">
                  <c:v>269.233</c:v>
                </c:pt>
                <c:pt idx="824">
                  <c:v>270.44200000000001</c:v>
                </c:pt>
                <c:pt idx="825">
                  <c:v>268.32600000000002</c:v>
                </c:pt>
                <c:pt idx="826">
                  <c:v>259.31599999999997</c:v>
                </c:pt>
                <c:pt idx="827">
                  <c:v>254.78399999999999</c:v>
                </c:pt>
                <c:pt idx="828">
                  <c:v>258.08999999999997</c:v>
                </c:pt>
                <c:pt idx="829">
                  <c:v>258.60899999999998</c:v>
                </c:pt>
                <c:pt idx="830">
                  <c:v>262.99599999999998</c:v>
                </c:pt>
                <c:pt idx="831">
                  <c:v>265.77600000000001</c:v>
                </c:pt>
                <c:pt idx="832">
                  <c:v>268.91000000000003</c:v>
                </c:pt>
                <c:pt idx="833">
                  <c:v>267.57799999999997</c:v>
                </c:pt>
                <c:pt idx="834">
                  <c:v>261.30900000000003</c:v>
                </c:pt>
                <c:pt idx="835">
                  <c:v>253.78800000000001</c:v>
                </c:pt>
                <c:pt idx="836">
                  <c:v>244.999</c:v>
                </c:pt>
                <c:pt idx="837">
                  <c:v>243.21100000000001</c:v>
                </c:pt>
                <c:pt idx="838">
                  <c:v>245.44499999999999</c:v>
                </c:pt>
                <c:pt idx="839">
                  <c:v>241.453</c:v>
                </c:pt>
                <c:pt idx="840">
                  <c:v>234.86699999999999</c:v>
                </c:pt>
                <c:pt idx="841">
                  <c:v>230.86799999999999</c:v>
                </c:pt>
                <c:pt idx="842">
                  <c:v>234.643</c:v>
                </c:pt>
                <c:pt idx="843">
                  <c:v>237.9</c:v>
                </c:pt>
                <c:pt idx="844">
                  <c:v>243.78100000000001</c:v>
                </c:pt>
                <c:pt idx="845">
                  <c:v>241.86099999999999</c:v>
                </c:pt>
                <c:pt idx="846">
                  <c:v>240.304</c:v>
                </c:pt>
                <c:pt idx="847">
                  <c:v>236.626</c:v>
                </c:pt>
                <c:pt idx="848">
                  <c:v>239.59299999999999</c:v>
                </c:pt>
                <c:pt idx="849">
                  <c:v>239.69900000000001</c:v>
                </c:pt>
                <c:pt idx="850">
                  <c:v>248.66900000000001</c:v>
                </c:pt>
                <c:pt idx="851">
                  <c:v>259.75400000000002</c:v>
                </c:pt>
                <c:pt idx="852">
                  <c:v>266.92</c:v>
                </c:pt>
                <c:pt idx="853">
                  <c:v>267.40300000000002</c:v>
                </c:pt>
                <c:pt idx="854">
                  <c:v>271.18</c:v>
                </c:pt>
                <c:pt idx="855">
                  <c:v>267.49299999999999</c:v>
                </c:pt>
                <c:pt idx="856">
                  <c:v>266.10199999999998</c:v>
                </c:pt>
                <c:pt idx="857">
                  <c:v>266.74299999999999</c:v>
                </c:pt>
                <c:pt idx="858">
                  <c:v>270.75900000000001</c:v>
                </c:pt>
                <c:pt idx="859">
                  <c:v>271.58199999999999</c:v>
                </c:pt>
                <c:pt idx="860">
                  <c:v>269.50099999999998</c:v>
                </c:pt>
                <c:pt idx="861">
                  <c:v>274.83199999999999</c:v>
                </c:pt>
                <c:pt idx="862">
                  <c:v>280.67200000000003</c:v>
                </c:pt>
                <c:pt idx="863">
                  <c:v>279.83600000000001</c:v>
                </c:pt>
                <c:pt idx="864">
                  <c:v>282.26400000000001</c:v>
                </c:pt>
                <c:pt idx="865">
                  <c:v>276.97899999999998</c:v>
                </c:pt>
                <c:pt idx="866">
                  <c:v>275.43400000000003</c:v>
                </c:pt>
                <c:pt idx="867">
                  <c:v>273.91899999999998</c:v>
                </c:pt>
                <c:pt idx="868">
                  <c:v>273.38</c:v>
                </c:pt>
                <c:pt idx="869">
                  <c:v>274.50299999999999</c:v>
                </c:pt>
                <c:pt idx="870">
                  <c:v>272.50200000000001</c:v>
                </c:pt>
                <c:pt idx="871">
                  <c:v>272.31799999999998</c:v>
                </c:pt>
                <c:pt idx="872">
                  <c:v>267.75400000000002</c:v>
                </c:pt>
                <c:pt idx="873">
                  <c:v>260.34699999999998</c:v>
                </c:pt>
                <c:pt idx="874">
                  <c:v>254.309</c:v>
                </c:pt>
                <c:pt idx="875">
                  <c:v>244.85</c:v>
                </c:pt>
                <c:pt idx="876">
                  <c:v>241.934</c:v>
                </c:pt>
                <c:pt idx="877">
                  <c:v>248.35599999999999</c:v>
                </c:pt>
                <c:pt idx="878">
                  <c:v>251.934</c:v>
                </c:pt>
                <c:pt idx="879">
                  <c:v>257.166</c:v>
                </c:pt>
                <c:pt idx="880">
                  <c:v>270.90300000000002</c:v>
                </c:pt>
                <c:pt idx="881">
                  <c:v>265.851</c:v>
                </c:pt>
                <c:pt idx="882">
                  <c:v>271.93200000000002</c:v>
                </c:pt>
                <c:pt idx="883">
                  <c:v>263.49900000000002</c:v>
                </c:pt>
                <c:pt idx="884">
                  <c:v>251.143</c:v>
                </c:pt>
                <c:pt idx="885">
                  <c:v>250.423</c:v>
                </c:pt>
                <c:pt idx="886">
                  <c:v>246.374</c:v>
                </c:pt>
                <c:pt idx="887">
                  <c:v>240.25299999999999</c:v>
                </c:pt>
                <c:pt idx="888">
                  <c:v>258.53199999999998</c:v>
                </c:pt>
                <c:pt idx="889">
                  <c:v>261.72800000000001</c:v>
                </c:pt>
                <c:pt idx="890">
                  <c:v>255.18</c:v>
                </c:pt>
                <c:pt idx="891">
                  <c:v>242.85400000000001</c:v>
                </c:pt>
                <c:pt idx="892">
                  <c:v>242.69</c:v>
                </c:pt>
                <c:pt idx="893">
                  <c:v>239.79900000000001</c:v>
                </c:pt>
                <c:pt idx="894">
                  <c:v>238.94499999999999</c:v>
                </c:pt>
                <c:pt idx="895">
                  <c:v>244.22200000000001</c:v>
                </c:pt>
                <c:pt idx="896">
                  <c:v>243.78200000000001</c:v>
                </c:pt>
                <c:pt idx="897">
                  <c:v>237.54400000000001</c:v>
                </c:pt>
                <c:pt idx="898">
                  <c:v>229.16</c:v>
                </c:pt>
                <c:pt idx="899">
                  <c:v>220.74799999999999</c:v>
                </c:pt>
                <c:pt idx="900">
                  <c:v>218.99600000000001</c:v>
                </c:pt>
                <c:pt idx="901">
                  <c:v>223.34200000000001</c:v>
                </c:pt>
                <c:pt idx="902">
                  <c:v>222.44900000000001</c:v>
                </c:pt>
                <c:pt idx="903">
                  <c:v>224.756</c:v>
                </c:pt>
                <c:pt idx="904">
                  <c:v>247.376</c:v>
                </c:pt>
                <c:pt idx="905">
                  <c:v>269.90199999999999</c:v>
                </c:pt>
                <c:pt idx="906">
                  <c:v>288.81700000000001</c:v>
                </c:pt>
                <c:pt idx="907">
                  <c:v>280.86399999999998</c:v>
                </c:pt>
                <c:pt idx="908">
                  <c:v>275.41000000000003</c:v>
                </c:pt>
                <c:pt idx="909">
                  <c:v>271.60500000000002</c:v>
                </c:pt>
                <c:pt idx="910">
                  <c:v>276.90300000000002</c:v>
                </c:pt>
                <c:pt idx="911">
                  <c:v>275.91199999999998</c:v>
                </c:pt>
                <c:pt idx="912">
                  <c:v>273.39800000000002</c:v>
                </c:pt>
                <c:pt idx="913">
                  <c:v>274.697</c:v>
                </c:pt>
                <c:pt idx="914">
                  <c:v>266.58699999999999</c:v>
                </c:pt>
                <c:pt idx="915">
                  <c:v>267.50700000000001</c:v>
                </c:pt>
                <c:pt idx="916">
                  <c:v>272.57799999999997</c:v>
                </c:pt>
                <c:pt idx="917">
                  <c:v>269.82900000000001</c:v>
                </c:pt>
                <c:pt idx="918">
                  <c:v>260.66199999999998</c:v>
                </c:pt>
                <c:pt idx="919">
                  <c:v>247.7</c:v>
                </c:pt>
                <c:pt idx="920">
                  <c:v>246.09299999999999</c:v>
                </c:pt>
                <c:pt idx="921">
                  <c:v>243.61699999999999</c:v>
                </c:pt>
                <c:pt idx="922">
                  <c:v>242.09800000000001</c:v>
                </c:pt>
                <c:pt idx="923">
                  <c:v>244.15</c:v>
                </c:pt>
                <c:pt idx="924">
                  <c:v>239.99</c:v>
                </c:pt>
                <c:pt idx="925">
                  <c:v>239.10300000000001</c:v>
                </c:pt>
                <c:pt idx="926">
                  <c:v>244.13399999999999</c:v>
                </c:pt>
                <c:pt idx="927">
                  <c:v>244.70400000000001</c:v>
                </c:pt>
                <c:pt idx="928">
                  <c:v>246.65100000000001</c:v>
                </c:pt>
                <c:pt idx="929">
                  <c:v>248.358</c:v>
                </c:pt>
                <c:pt idx="930">
                  <c:v>242.79300000000001</c:v>
                </c:pt>
                <c:pt idx="931">
                  <c:v>245.14400000000001</c:v>
                </c:pt>
                <c:pt idx="932">
                  <c:v>245.18600000000001</c:v>
                </c:pt>
                <c:pt idx="933">
                  <c:v>240.63300000000001</c:v>
                </c:pt>
                <c:pt idx="934">
                  <c:v>240.40899999999999</c:v>
                </c:pt>
                <c:pt idx="935">
                  <c:v>242.721</c:v>
                </c:pt>
                <c:pt idx="936">
                  <c:v>245.61199999999999</c:v>
                </c:pt>
                <c:pt idx="937">
                  <c:v>248.809</c:v>
                </c:pt>
                <c:pt idx="938">
                  <c:v>245.511</c:v>
                </c:pt>
                <c:pt idx="939">
                  <c:v>244.03</c:v>
                </c:pt>
                <c:pt idx="940">
                  <c:v>240.99600000000001</c:v>
                </c:pt>
                <c:pt idx="941">
                  <c:v>235.6</c:v>
                </c:pt>
                <c:pt idx="942">
                  <c:v>236.20099999999999</c:v>
                </c:pt>
                <c:pt idx="943">
                  <c:v>242</c:v>
                </c:pt>
                <c:pt idx="944">
                  <c:v>246.41</c:v>
                </c:pt>
                <c:pt idx="945">
                  <c:v>249.44900000000001</c:v>
                </c:pt>
                <c:pt idx="946">
                  <c:v>247.67599999999999</c:v>
                </c:pt>
                <c:pt idx="947">
                  <c:v>245.613</c:v>
                </c:pt>
                <c:pt idx="948">
                  <c:v>246.00200000000001</c:v>
                </c:pt>
                <c:pt idx="949">
                  <c:v>242</c:v>
                </c:pt>
                <c:pt idx="950">
                  <c:v>263.30599999999998</c:v>
                </c:pt>
                <c:pt idx="951">
                  <c:v>255.899</c:v>
                </c:pt>
                <c:pt idx="952">
                  <c:v>243.50399999999999</c:v>
                </c:pt>
                <c:pt idx="953">
                  <c:v>247.60400000000001</c:v>
                </c:pt>
                <c:pt idx="954">
                  <c:v>262.505</c:v>
                </c:pt>
                <c:pt idx="955">
                  <c:v>263.601</c:v>
                </c:pt>
                <c:pt idx="956">
                  <c:v>271.113</c:v>
                </c:pt>
                <c:pt idx="957">
                  <c:v>264.089</c:v>
                </c:pt>
                <c:pt idx="958">
                  <c:v>262.10199999999998</c:v>
                </c:pt>
                <c:pt idx="959">
                  <c:v>256.69600000000003</c:v>
                </c:pt>
                <c:pt idx="960">
                  <c:v>250.512</c:v>
                </c:pt>
                <c:pt idx="961">
                  <c:v>249.995</c:v>
                </c:pt>
                <c:pt idx="962">
                  <c:v>249.74700000000001</c:v>
                </c:pt>
                <c:pt idx="963">
                  <c:v>249.16800000000001</c:v>
                </c:pt>
                <c:pt idx="964">
                  <c:v>250.09299999999999</c:v>
                </c:pt>
                <c:pt idx="965">
                  <c:v>255.41200000000001</c:v>
                </c:pt>
                <c:pt idx="966">
                  <c:v>257.40100000000001</c:v>
                </c:pt>
                <c:pt idx="967">
                  <c:v>255.7</c:v>
                </c:pt>
                <c:pt idx="968">
                  <c:v>252.886</c:v>
                </c:pt>
                <c:pt idx="969">
                  <c:v>256.75400000000002</c:v>
                </c:pt>
                <c:pt idx="970">
                  <c:v>257.07400000000001</c:v>
                </c:pt>
                <c:pt idx="971">
                  <c:v>248.49799999999999</c:v>
                </c:pt>
                <c:pt idx="972">
                  <c:v>246.85599999999999</c:v>
                </c:pt>
                <c:pt idx="973">
                  <c:v>247.041</c:v>
                </c:pt>
                <c:pt idx="974">
                  <c:v>243.88</c:v>
                </c:pt>
                <c:pt idx="975">
                  <c:v>244.255</c:v>
                </c:pt>
                <c:pt idx="976">
                  <c:v>251.495</c:v>
                </c:pt>
                <c:pt idx="977">
                  <c:v>252.12299999999999</c:v>
                </c:pt>
                <c:pt idx="978">
                  <c:v>253.041</c:v>
                </c:pt>
                <c:pt idx="979">
                  <c:v>254.876</c:v>
                </c:pt>
                <c:pt idx="980">
                  <c:v>262.387</c:v>
                </c:pt>
                <c:pt idx="981">
                  <c:v>265.26</c:v>
                </c:pt>
                <c:pt idx="982">
                  <c:v>264.96800000000002</c:v>
                </c:pt>
                <c:pt idx="983">
                  <c:v>271.86500000000001</c:v>
                </c:pt>
                <c:pt idx="984">
                  <c:v>271.387</c:v>
                </c:pt>
                <c:pt idx="985">
                  <c:v>264.48099999999999</c:v>
                </c:pt>
                <c:pt idx="986">
                  <c:v>270.25299999999999</c:v>
                </c:pt>
                <c:pt idx="987">
                  <c:v>286.24700000000001</c:v>
                </c:pt>
                <c:pt idx="988">
                  <c:v>289.233</c:v>
                </c:pt>
                <c:pt idx="989">
                  <c:v>300.62799999999999</c:v>
                </c:pt>
                <c:pt idx="990">
                  <c:v>287.00099999999998</c:v>
                </c:pt>
                <c:pt idx="991">
                  <c:v>290.60300000000001</c:v>
                </c:pt>
                <c:pt idx="992">
                  <c:v>289.51799999999997</c:v>
                </c:pt>
                <c:pt idx="993">
                  <c:v>296.17099999999999</c:v>
                </c:pt>
                <c:pt idx="994">
                  <c:v>290.32799999999997</c:v>
                </c:pt>
                <c:pt idx="995">
                  <c:v>288.839</c:v>
                </c:pt>
                <c:pt idx="996">
                  <c:v>293.98700000000002</c:v>
                </c:pt>
                <c:pt idx="997">
                  <c:v>295.76499999999999</c:v>
                </c:pt>
                <c:pt idx="998">
                  <c:v>298.68400000000003</c:v>
                </c:pt>
                <c:pt idx="999">
                  <c:v>294.65800000000002</c:v>
                </c:pt>
                <c:pt idx="1000">
                  <c:v>292.185</c:v>
                </c:pt>
                <c:pt idx="1001">
                  <c:v>289.839</c:v>
                </c:pt>
                <c:pt idx="1002">
                  <c:v>306.00400000000002</c:v>
                </c:pt>
                <c:pt idx="1003">
                  <c:v>306.32799999999997</c:v>
                </c:pt>
                <c:pt idx="1004">
                  <c:v>299.661</c:v>
                </c:pt>
                <c:pt idx="1005">
                  <c:v>290.66500000000002</c:v>
                </c:pt>
                <c:pt idx="1006">
                  <c:v>286.13200000000001</c:v>
                </c:pt>
                <c:pt idx="1007">
                  <c:v>285.58600000000001</c:v>
                </c:pt>
                <c:pt idx="1008">
                  <c:v>286.82600000000002</c:v>
                </c:pt>
                <c:pt idx="1009">
                  <c:v>286.00200000000001</c:v>
                </c:pt>
                <c:pt idx="1010">
                  <c:v>284.17099999999999</c:v>
                </c:pt>
                <c:pt idx="1011">
                  <c:v>278.99799999999999</c:v>
                </c:pt>
                <c:pt idx="1012">
                  <c:v>286.00299999999999</c:v>
                </c:pt>
                <c:pt idx="1013">
                  <c:v>281.33499999999998</c:v>
                </c:pt>
                <c:pt idx="1014">
                  <c:v>286.726</c:v>
                </c:pt>
                <c:pt idx="1015">
                  <c:v>286.99700000000001</c:v>
                </c:pt>
                <c:pt idx="1016">
                  <c:v>284.83499999999998</c:v>
                </c:pt>
                <c:pt idx="1017">
                  <c:v>283.83499999999998</c:v>
                </c:pt>
                <c:pt idx="1018">
                  <c:v>285.37400000000002</c:v>
                </c:pt>
                <c:pt idx="1019">
                  <c:v>278.99900000000002</c:v>
                </c:pt>
                <c:pt idx="1020">
                  <c:v>275.15699999999998</c:v>
                </c:pt>
                <c:pt idx="1021">
                  <c:v>271.12299999999999</c:v>
                </c:pt>
                <c:pt idx="1022">
                  <c:v>274.16500000000002</c:v>
                </c:pt>
                <c:pt idx="1023">
                  <c:v>273.49599999999998</c:v>
                </c:pt>
                <c:pt idx="1024">
                  <c:v>272.50400000000002</c:v>
                </c:pt>
                <c:pt idx="1025">
                  <c:v>265.99900000000002</c:v>
                </c:pt>
                <c:pt idx="1026">
                  <c:v>267.49900000000002</c:v>
                </c:pt>
                <c:pt idx="1027">
                  <c:v>266.5</c:v>
                </c:pt>
                <c:pt idx="1028">
                  <c:v>258.99</c:v>
                </c:pt>
                <c:pt idx="1029">
                  <c:v>249.476</c:v>
                </c:pt>
                <c:pt idx="1030">
                  <c:v>250.67500000000001</c:v>
                </c:pt>
                <c:pt idx="1031">
                  <c:v>256.82799999999997</c:v>
                </c:pt>
                <c:pt idx="1032">
                  <c:v>255.047</c:v>
                </c:pt>
                <c:pt idx="1033">
                  <c:v>249.49700000000001</c:v>
                </c:pt>
                <c:pt idx="1034">
                  <c:v>247.37200000000001</c:v>
                </c:pt>
                <c:pt idx="1035">
                  <c:v>242.64699999999999</c:v>
                </c:pt>
                <c:pt idx="1036">
                  <c:v>236.001</c:v>
                </c:pt>
                <c:pt idx="1037">
                  <c:v>236.911</c:v>
                </c:pt>
                <c:pt idx="1038">
                  <c:v>237.346</c:v>
                </c:pt>
                <c:pt idx="1039">
                  <c:v>240.173</c:v>
                </c:pt>
                <c:pt idx="1040">
                  <c:v>241.63200000000001</c:v>
                </c:pt>
                <c:pt idx="1041">
                  <c:v>239.60499999999999</c:v>
                </c:pt>
                <c:pt idx="1042">
                  <c:v>238.89500000000001</c:v>
                </c:pt>
                <c:pt idx="1043">
                  <c:v>236.82</c:v>
                </c:pt>
                <c:pt idx="1044">
                  <c:v>237.73699999999999</c:v>
                </c:pt>
                <c:pt idx="1045">
                  <c:v>237.22399999999999</c:v>
                </c:pt>
                <c:pt idx="1046">
                  <c:v>241.40600000000001</c:v>
                </c:pt>
                <c:pt idx="1047">
                  <c:v>243.291</c:v>
                </c:pt>
                <c:pt idx="1048">
                  <c:v>243.87799999999999</c:v>
                </c:pt>
                <c:pt idx="1049">
                  <c:v>243.52799999999999</c:v>
                </c:pt>
                <c:pt idx="1050">
                  <c:v>242.77500000000001</c:v>
                </c:pt>
                <c:pt idx="1051">
                  <c:v>236.291</c:v>
                </c:pt>
                <c:pt idx="1052">
                  <c:v>237.00800000000001</c:v>
                </c:pt>
                <c:pt idx="1053">
                  <c:v>240.35400000000001</c:v>
                </c:pt>
                <c:pt idx="1054">
                  <c:v>235.85400000000001</c:v>
                </c:pt>
                <c:pt idx="1055">
                  <c:v>235.77</c:v>
                </c:pt>
                <c:pt idx="1056">
                  <c:v>236.95500000000001</c:v>
                </c:pt>
                <c:pt idx="1057">
                  <c:v>234.874</c:v>
                </c:pt>
                <c:pt idx="1058">
                  <c:v>227.65199999999999</c:v>
                </c:pt>
                <c:pt idx="1059">
                  <c:v>223.239</c:v>
                </c:pt>
                <c:pt idx="1060">
                  <c:v>232.495</c:v>
                </c:pt>
                <c:pt idx="1061">
                  <c:v>232.94800000000001</c:v>
                </c:pt>
                <c:pt idx="1062">
                  <c:v>236.26499999999999</c:v>
                </c:pt>
                <c:pt idx="1063">
                  <c:v>236.22499999999999</c:v>
                </c:pt>
                <c:pt idx="1064">
                  <c:v>234.47399999999999</c:v>
                </c:pt>
                <c:pt idx="1065">
                  <c:v>236.40299999999999</c:v>
                </c:pt>
                <c:pt idx="1066">
                  <c:v>237.68299999999999</c:v>
                </c:pt>
                <c:pt idx="1067">
                  <c:v>239.18199999999999</c:v>
                </c:pt>
                <c:pt idx="1068">
                  <c:v>238.15100000000001</c:v>
                </c:pt>
                <c:pt idx="1069">
                  <c:v>239.26599999999999</c:v>
                </c:pt>
                <c:pt idx="1070">
                  <c:v>212.898</c:v>
                </c:pt>
                <c:pt idx="1071">
                  <c:v>208.529</c:v>
                </c:pt>
                <c:pt idx="1072">
                  <c:v>210.11600000000001</c:v>
                </c:pt>
                <c:pt idx="1073">
                  <c:v>201.809</c:v>
                </c:pt>
                <c:pt idx="1074">
                  <c:v>200.21100000000001</c:v>
                </c:pt>
                <c:pt idx="1075">
                  <c:v>204.21899999999999</c:v>
                </c:pt>
                <c:pt idx="1076">
                  <c:v>204.16800000000001</c:v>
                </c:pt>
                <c:pt idx="1077">
                  <c:v>205.387</c:v>
                </c:pt>
                <c:pt idx="1078">
                  <c:v>206.208</c:v>
                </c:pt>
                <c:pt idx="1079">
                  <c:v>205.429</c:v>
                </c:pt>
                <c:pt idx="1080">
                  <c:v>205.54400000000001</c:v>
                </c:pt>
                <c:pt idx="1081">
                  <c:v>207.67500000000001</c:v>
                </c:pt>
                <c:pt idx="1082">
                  <c:v>205.61799999999999</c:v>
                </c:pt>
                <c:pt idx="1083">
                  <c:v>204.036</c:v>
                </c:pt>
                <c:pt idx="1084">
                  <c:v>208.345</c:v>
                </c:pt>
                <c:pt idx="1085">
                  <c:v>213.52600000000001</c:v>
                </c:pt>
                <c:pt idx="1086">
                  <c:v>210.24700000000001</c:v>
                </c:pt>
                <c:pt idx="1087">
                  <c:v>207.88499999999999</c:v>
                </c:pt>
                <c:pt idx="1088">
                  <c:v>204.49199999999999</c:v>
                </c:pt>
                <c:pt idx="1089">
                  <c:v>201.17599999999999</c:v>
                </c:pt>
                <c:pt idx="1090">
                  <c:v>198.279</c:v>
                </c:pt>
                <c:pt idx="1091">
                  <c:v>197.273</c:v>
                </c:pt>
                <c:pt idx="1092">
                  <c:v>197.24299999999999</c:v>
                </c:pt>
                <c:pt idx="1093">
                  <c:v>197.43100000000001</c:v>
                </c:pt>
                <c:pt idx="1094">
                  <c:v>197.5</c:v>
                </c:pt>
                <c:pt idx="1095">
                  <c:v>196.095</c:v>
                </c:pt>
                <c:pt idx="1096">
                  <c:v>195.292</c:v>
                </c:pt>
                <c:pt idx="1097">
                  <c:v>193.93600000000001</c:v>
                </c:pt>
                <c:pt idx="1098">
                  <c:v>192.93299999999999</c:v>
                </c:pt>
                <c:pt idx="1099">
                  <c:v>196.97499999999999</c:v>
                </c:pt>
                <c:pt idx="1100">
                  <c:v>196.37</c:v>
                </c:pt>
                <c:pt idx="1101">
                  <c:v>194.947</c:v>
                </c:pt>
                <c:pt idx="1102">
                  <c:v>189.68899999999999</c:v>
                </c:pt>
                <c:pt idx="1103">
                  <c:v>187.24199999999999</c:v>
                </c:pt>
                <c:pt idx="1104">
                  <c:v>182.61</c:v>
                </c:pt>
                <c:pt idx="1105">
                  <c:v>185.50800000000001</c:v>
                </c:pt>
                <c:pt idx="1106">
                  <c:v>188.00899999999999</c:v>
                </c:pt>
                <c:pt idx="1107">
                  <c:v>189.60300000000001</c:v>
                </c:pt>
                <c:pt idx="1108">
                  <c:v>195.041</c:v>
                </c:pt>
                <c:pt idx="1109">
                  <c:v>194.22399999999999</c:v>
                </c:pt>
                <c:pt idx="1110">
                  <c:v>190.904</c:v>
                </c:pt>
                <c:pt idx="1111">
                  <c:v>189.33199999999999</c:v>
                </c:pt>
                <c:pt idx="1112">
                  <c:v>188.84200000000001</c:v>
                </c:pt>
                <c:pt idx="1113">
                  <c:v>189.80199999999999</c:v>
                </c:pt>
                <c:pt idx="1114">
                  <c:v>190.53</c:v>
                </c:pt>
                <c:pt idx="1115">
                  <c:v>193.541</c:v>
                </c:pt>
                <c:pt idx="1116">
                  <c:v>194.47399999999999</c:v>
                </c:pt>
                <c:pt idx="1117">
                  <c:v>196.714</c:v>
                </c:pt>
                <c:pt idx="1118">
                  <c:v>196.131</c:v>
                </c:pt>
                <c:pt idx="1119">
                  <c:v>201.37799999999999</c:v>
                </c:pt>
                <c:pt idx="1120">
                  <c:v>204.50399999999999</c:v>
                </c:pt>
                <c:pt idx="1121">
                  <c:v>206.37799999999999</c:v>
                </c:pt>
                <c:pt idx="1122">
                  <c:v>202.869</c:v>
                </c:pt>
                <c:pt idx="1123">
                  <c:v>202.10599999999999</c:v>
                </c:pt>
                <c:pt idx="1124">
                  <c:v>196.96899999999999</c:v>
                </c:pt>
                <c:pt idx="1125">
                  <c:v>194.131</c:v>
                </c:pt>
                <c:pt idx="1126">
                  <c:v>190.71</c:v>
                </c:pt>
                <c:pt idx="1127">
                  <c:v>189.095</c:v>
                </c:pt>
                <c:pt idx="1128">
                  <c:v>188.018</c:v>
                </c:pt>
                <c:pt idx="1129">
                  <c:v>186.33799999999999</c:v>
                </c:pt>
                <c:pt idx="1130">
                  <c:v>182.517</c:v>
                </c:pt>
                <c:pt idx="1131">
                  <c:v>182.05</c:v>
                </c:pt>
                <c:pt idx="1132">
                  <c:v>184.792</c:v>
                </c:pt>
                <c:pt idx="1133">
                  <c:v>187.542</c:v>
                </c:pt>
                <c:pt idx="1134">
                  <c:v>184.626</c:v>
                </c:pt>
                <c:pt idx="1135">
                  <c:v>183.21299999999999</c:v>
                </c:pt>
                <c:pt idx="1136">
                  <c:v>182.83699999999999</c:v>
                </c:pt>
                <c:pt idx="1137">
                  <c:v>182.95599999999999</c:v>
                </c:pt>
                <c:pt idx="1138">
                  <c:v>181.57400000000001</c:v>
                </c:pt>
                <c:pt idx="1139">
                  <c:v>179.29400000000001</c:v>
                </c:pt>
                <c:pt idx="1140">
                  <c:v>174.476</c:v>
                </c:pt>
                <c:pt idx="1141">
                  <c:v>173.636</c:v>
                </c:pt>
                <c:pt idx="1142">
                  <c:v>172.83099999999999</c:v>
                </c:pt>
                <c:pt idx="1143">
                  <c:v>171.63800000000001</c:v>
                </c:pt>
                <c:pt idx="1144">
                  <c:v>173.33699999999999</c:v>
                </c:pt>
                <c:pt idx="1145">
                  <c:v>178.10300000000001</c:v>
                </c:pt>
                <c:pt idx="1146">
                  <c:v>180.59899999999999</c:v>
                </c:pt>
                <c:pt idx="1147">
                  <c:v>176.51</c:v>
                </c:pt>
                <c:pt idx="1148">
                  <c:v>174.53700000000001</c:v>
                </c:pt>
                <c:pt idx="1149">
                  <c:v>174.416</c:v>
                </c:pt>
                <c:pt idx="1150">
                  <c:v>175.68799999999999</c:v>
                </c:pt>
                <c:pt idx="1151">
                  <c:v>178.98699999999999</c:v>
                </c:pt>
                <c:pt idx="1152">
                  <c:v>178.036</c:v>
                </c:pt>
                <c:pt idx="1153">
                  <c:v>175.381</c:v>
                </c:pt>
                <c:pt idx="1154">
                  <c:v>173.922</c:v>
                </c:pt>
                <c:pt idx="1155">
                  <c:v>174.09399999999999</c:v>
                </c:pt>
                <c:pt idx="1156">
                  <c:v>171.56399999999999</c:v>
                </c:pt>
                <c:pt idx="1157">
                  <c:v>171.029</c:v>
                </c:pt>
                <c:pt idx="1158">
                  <c:v>171.63800000000001</c:v>
                </c:pt>
                <c:pt idx="1159">
                  <c:v>166.69499999999999</c:v>
                </c:pt>
                <c:pt idx="1160">
                  <c:v>161.53399999999999</c:v>
                </c:pt>
                <c:pt idx="1161">
                  <c:v>160.68100000000001</c:v>
                </c:pt>
                <c:pt idx="1162">
                  <c:v>162.31299999999999</c:v>
                </c:pt>
                <c:pt idx="1163">
                  <c:v>161.27699999999999</c:v>
                </c:pt>
                <c:pt idx="1164">
                  <c:v>164.23099999999999</c:v>
                </c:pt>
                <c:pt idx="1165">
                  <c:v>163.11600000000001</c:v>
                </c:pt>
                <c:pt idx="1166">
                  <c:v>163.22</c:v>
                </c:pt>
                <c:pt idx="1167">
                  <c:v>160.73699999999999</c:v>
                </c:pt>
                <c:pt idx="1168">
                  <c:v>162.25700000000001</c:v>
                </c:pt>
                <c:pt idx="1169">
                  <c:v>162.83600000000001</c:v>
                </c:pt>
                <c:pt idx="1170">
                  <c:v>162.702</c:v>
                </c:pt>
                <c:pt idx="1171">
                  <c:v>161.94399999999999</c:v>
                </c:pt>
                <c:pt idx="1172">
                  <c:v>162.13399999999999</c:v>
                </c:pt>
                <c:pt idx="1173">
                  <c:v>165.76400000000001</c:v>
                </c:pt>
                <c:pt idx="1174">
                  <c:v>180.15100000000001</c:v>
                </c:pt>
                <c:pt idx="1175">
                  <c:v>186.22900000000001</c:v>
                </c:pt>
                <c:pt idx="1176">
                  <c:v>185.471</c:v>
                </c:pt>
                <c:pt idx="1177">
                  <c:v>192.221</c:v>
                </c:pt>
                <c:pt idx="1178">
                  <c:v>192.02</c:v>
                </c:pt>
                <c:pt idx="1179">
                  <c:v>191.595</c:v>
                </c:pt>
                <c:pt idx="1180">
                  <c:v>190.03200000000001</c:v>
                </c:pt>
                <c:pt idx="1181">
                  <c:v>187.268</c:v>
                </c:pt>
                <c:pt idx="1182">
                  <c:v>183.208</c:v>
                </c:pt>
                <c:pt idx="1183">
                  <c:v>181.03200000000001</c:v>
                </c:pt>
                <c:pt idx="1184">
                  <c:v>177.928</c:v>
                </c:pt>
                <c:pt idx="1185">
                  <c:v>175.11600000000001</c:v>
                </c:pt>
                <c:pt idx="1186">
                  <c:v>175.977</c:v>
                </c:pt>
                <c:pt idx="1187">
                  <c:v>182.78700000000001</c:v>
                </c:pt>
                <c:pt idx="1188">
                  <c:v>181.83099999999999</c:v>
                </c:pt>
                <c:pt idx="1189">
                  <c:v>178.93899999999999</c:v>
                </c:pt>
                <c:pt idx="1190">
                  <c:v>178.00700000000001</c:v>
                </c:pt>
                <c:pt idx="1191">
                  <c:v>177.50399999999999</c:v>
                </c:pt>
                <c:pt idx="1192">
                  <c:v>176.036</c:v>
                </c:pt>
                <c:pt idx="1193">
                  <c:v>177.49199999999999</c:v>
                </c:pt>
                <c:pt idx="1194">
                  <c:v>174.93100000000001</c:v>
                </c:pt>
                <c:pt idx="1195">
                  <c:v>173.185</c:v>
                </c:pt>
                <c:pt idx="1196">
                  <c:v>173.47399999999999</c:v>
                </c:pt>
                <c:pt idx="1197">
                  <c:v>176.27199999999999</c:v>
                </c:pt>
                <c:pt idx="1198">
                  <c:v>180.16499999999999</c:v>
                </c:pt>
                <c:pt idx="1199">
                  <c:v>182.31800000000001</c:v>
                </c:pt>
                <c:pt idx="1200">
                  <c:v>188.66900000000001</c:v>
                </c:pt>
                <c:pt idx="1201">
                  <c:v>189.499</c:v>
                </c:pt>
                <c:pt idx="1202">
                  <c:v>185.62799999999999</c:v>
                </c:pt>
                <c:pt idx="1203">
                  <c:v>185.65899999999999</c:v>
                </c:pt>
                <c:pt idx="1204">
                  <c:v>188.57499999999999</c:v>
                </c:pt>
                <c:pt idx="1205">
                  <c:v>190.679</c:v>
                </c:pt>
                <c:pt idx="1206">
                  <c:v>198.059</c:v>
                </c:pt>
                <c:pt idx="1207">
                  <c:v>198.53399999999999</c:v>
                </c:pt>
                <c:pt idx="1208">
                  <c:v>205.52</c:v>
                </c:pt>
                <c:pt idx="1209">
                  <c:v>207.88800000000001</c:v>
                </c:pt>
                <c:pt idx="1210">
                  <c:v>212.90600000000001</c:v>
                </c:pt>
                <c:pt idx="1211">
                  <c:v>213.227</c:v>
                </c:pt>
                <c:pt idx="1212">
                  <c:v>214.935</c:v>
                </c:pt>
                <c:pt idx="1213">
                  <c:v>215.01900000000001</c:v>
                </c:pt>
                <c:pt idx="1214">
                  <c:v>211.92099999999999</c:v>
                </c:pt>
                <c:pt idx="1215">
                  <c:v>203.93799999999999</c:v>
                </c:pt>
                <c:pt idx="1216">
                  <c:v>207.32599999999999</c:v>
                </c:pt>
                <c:pt idx="1217">
                  <c:v>215.51300000000001</c:v>
                </c:pt>
                <c:pt idx="1218">
                  <c:v>217.28</c:v>
                </c:pt>
                <c:pt idx="1219">
                  <c:v>211.392</c:v>
                </c:pt>
                <c:pt idx="1220">
                  <c:v>209.02199999999999</c:v>
                </c:pt>
                <c:pt idx="1221">
                  <c:v>208.453</c:v>
                </c:pt>
                <c:pt idx="1222">
                  <c:v>201.87899999999999</c:v>
                </c:pt>
                <c:pt idx="1223">
                  <c:v>204.76900000000001</c:v>
                </c:pt>
                <c:pt idx="1224">
                  <c:v>206.58199999999999</c:v>
                </c:pt>
                <c:pt idx="1225">
                  <c:v>201.679</c:v>
                </c:pt>
                <c:pt idx="1226">
                  <c:v>201.393</c:v>
                </c:pt>
                <c:pt idx="1227">
                  <c:v>192.13300000000001</c:v>
                </c:pt>
                <c:pt idx="1228">
                  <c:v>187.32</c:v>
                </c:pt>
                <c:pt idx="1229">
                  <c:v>186.54</c:v>
                </c:pt>
                <c:pt idx="1230">
                  <c:v>186.809</c:v>
                </c:pt>
                <c:pt idx="1231">
                  <c:v>185.904</c:v>
                </c:pt>
                <c:pt idx="1232">
                  <c:v>184.739</c:v>
                </c:pt>
                <c:pt idx="1233">
                  <c:v>180.935</c:v>
                </c:pt>
                <c:pt idx="1234">
                  <c:v>176.68700000000001</c:v>
                </c:pt>
                <c:pt idx="1235">
                  <c:v>179.958</c:v>
                </c:pt>
                <c:pt idx="1236">
                  <c:v>176.874</c:v>
                </c:pt>
                <c:pt idx="1237">
                  <c:v>171.21100000000001</c:v>
                </c:pt>
                <c:pt idx="1238">
                  <c:v>171.47200000000001</c:v>
                </c:pt>
                <c:pt idx="1239">
                  <c:v>171.06800000000001</c:v>
                </c:pt>
                <c:pt idx="1240">
                  <c:v>169.768</c:v>
                </c:pt>
                <c:pt idx="1241">
                  <c:v>168.22800000000001</c:v>
                </c:pt>
                <c:pt idx="1242">
                  <c:v>167.57</c:v>
                </c:pt>
                <c:pt idx="1243">
                  <c:v>167.19399999999999</c:v>
                </c:pt>
                <c:pt idx="1244">
                  <c:v>168.446</c:v>
                </c:pt>
                <c:pt idx="1245">
                  <c:v>166.07499999999999</c:v>
                </c:pt>
                <c:pt idx="1246">
                  <c:v>164.82499999999999</c:v>
                </c:pt>
                <c:pt idx="1247">
                  <c:v>154.98699999999999</c:v>
                </c:pt>
                <c:pt idx="1248">
                  <c:v>161.40100000000001</c:v>
                </c:pt>
                <c:pt idx="1249">
                  <c:v>162.08000000000001</c:v>
                </c:pt>
                <c:pt idx="1250">
                  <c:v>160.49600000000001</c:v>
                </c:pt>
                <c:pt idx="1251">
                  <c:v>159.00200000000001</c:v>
                </c:pt>
                <c:pt idx="1252">
                  <c:v>161.34800000000001</c:v>
                </c:pt>
                <c:pt idx="1253">
                  <c:v>163.40799999999999</c:v>
                </c:pt>
                <c:pt idx="1254">
                  <c:v>164.41800000000001</c:v>
                </c:pt>
                <c:pt idx="1255">
                  <c:v>161.738</c:v>
                </c:pt>
                <c:pt idx="1256">
                  <c:v>159.23699999999999</c:v>
                </c:pt>
                <c:pt idx="1257">
                  <c:v>159.666</c:v>
                </c:pt>
                <c:pt idx="1258">
                  <c:v>162.05099999999999</c:v>
                </c:pt>
                <c:pt idx="1259">
                  <c:v>163.75800000000001</c:v>
                </c:pt>
                <c:pt idx="1260">
                  <c:v>164.02</c:v>
                </c:pt>
                <c:pt idx="1261">
                  <c:v>168.14500000000001</c:v>
                </c:pt>
                <c:pt idx="1262">
                  <c:v>165.68700000000001</c:v>
                </c:pt>
                <c:pt idx="1263">
                  <c:v>165.273</c:v>
                </c:pt>
                <c:pt idx="1264">
                  <c:v>165.041</c:v>
                </c:pt>
                <c:pt idx="1265">
                  <c:v>164.74799999999999</c:v>
                </c:pt>
                <c:pt idx="1266">
                  <c:v>165.17</c:v>
                </c:pt>
                <c:pt idx="1267">
                  <c:v>167.411</c:v>
                </c:pt>
                <c:pt idx="1268">
                  <c:v>169.386</c:v>
                </c:pt>
                <c:pt idx="1269">
                  <c:v>166.024</c:v>
                </c:pt>
                <c:pt idx="1270">
                  <c:v>163.291</c:v>
                </c:pt>
                <c:pt idx="1271">
                  <c:v>166.30799999999999</c:v>
                </c:pt>
                <c:pt idx="1272">
                  <c:v>168.21700000000001</c:v>
                </c:pt>
                <c:pt idx="1273">
                  <c:v>170.053</c:v>
                </c:pt>
                <c:pt idx="1274">
                  <c:v>166.92</c:v>
                </c:pt>
                <c:pt idx="1275">
                  <c:v>174.529</c:v>
                </c:pt>
                <c:pt idx="1276">
                  <c:v>182.762</c:v>
                </c:pt>
                <c:pt idx="1277">
                  <c:v>179.11099999999999</c:v>
                </c:pt>
                <c:pt idx="1278">
                  <c:v>180.65199999999999</c:v>
                </c:pt>
                <c:pt idx="1279">
                  <c:v>178.60499999999999</c:v>
                </c:pt>
                <c:pt idx="1280">
                  <c:v>175.53800000000001</c:v>
                </c:pt>
                <c:pt idx="1281">
                  <c:v>166.47300000000001</c:v>
                </c:pt>
                <c:pt idx="1282">
                  <c:v>164.017</c:v>
                </c:pt>
                <c:pt idx="1283">
                  <c:v>170.33600000000001</c:v>
                </c:pt>
                <c:pt idx="1284">
                  <c:v>167.28800000000001</c:v>
                </c:pt>
                <c:pt idx="1285">
                  <c:v>169.25</c:v>
                </c:pt>
                <c:pt idx="1286">
                  <c:v>171.886</c:v>
                </c:pt>
                <c:pt idx="1287">
                  <c:v>168.184</c:v>
                </c:pt>
                <c:pt idx="1288">
                  <c:v>167.72399999999999</c:v>
                </c:pt>
                <c:pt idx="1289">
                  <c:v>167.905</c:v>
                </c:pt>
                <c:pt idx="1290">
                  <c:v>170.291</c:v>
                </c:pt>
                <c:pt idx="1291">
                  <c:v>173.49199999999999</c:v>
                </c:pt>
                <c:pt idx="1292">
                  <c:v>173.33600000000001</c:v>
                </c:pt>
                <c:pt idx="1293">
                  <c:v>170.56100000000001</c:v>
                </c:pt>
                <c:pt idx="1294">
                  <c:v>170.51900000000001</c:v>
                </c:pt>
                <c:pt idx="1295">
                  <c:v>169.73099999999999</c:v>
                </c:pt>
                <c:pt idx="1296">
                  <c:v>167.32599999999999</c:v>
                </c:pt>
                <c:pt idx="1297">
                  <c:v>169.28399999999999</c:v>
                </c:pt>
                <c:pt idx="1298">
                  <c:v>173.31100000000001</c:v>
                </c:pt>
                <c:pt idx="1299">
                  <c:v>173.52199999999999</c:v>
                </c:pt>
                <c:pt idx="1300">
                  <c:v>173.911</c:v>
                </c:pt>
                <c:pt idx="1301">
                  <c:v>176.68799999999999</c:v>
                </c:pt>
                <c:pt idx="1302">
                  <c:v>182.38300000000001</c:v>
                </c:pt>
                <c:pt idx="1303">
                  <c:v>194.529</c:v>
                </c:pt>
                <c:pt idx="1304">
                  <c:v>192.43100000000001</c:v>
                </c:pt>
                <c:pt idx="1305">
                  <c:v>195.708</c:v>
                </c:pt>
                <c:pt idx="1306">
                  <c:v>198.85400000000001</c:v>
                </c:pt>
                <c:pt idx="1307">
                  <c:v>201.27199999999999</c:v>
                </c:pt>
                <c:pt idx="1308">
                  <c:v>198.31100000000001</c:v>
                </c:pt>
                <c:pt idx="1309">
                  <c:v>200.417</c:v>
                </c:pt>
                <c:pt idx="1310">
                  <c:v>195.99199999999999</c:v>
                </c:pt>
                <c:pt idx="1311">
                  <c:v>195.73099999999999</c:v>
                </c:pt>
                <c:pt idx="1312">
                  <c:v>195.297</c:v>
                </c:pt>
                <c:pt idx="1313">
                  <c:v>194.32900000000001</c:v>
                </c:pt>
                <c:pt idx="1314">
                  <c:v>193.947</c:v>
                </c:pt>
                <c:pt idx="1315">
                  <c:v>194.47499999999999</c:v>
                </c:pt>
                <c:pt idx="1316">
                  <c:v>198.98400000000001</c:v>
                </c:pt>
                <c:pt idx="1317">
                  <c:v>205.821</c:v>
                </c:pt>
                <c:pt idx="1318">
                  <c:v>207.56200000000001</c:v>
                </c:pt>
                <c:pt idx="1319">
                  <c:v>211.249</c:v>
                </c:pt>
                <c:pt idx="1320">
                  <c:v>204.69200000000001</c:v>
                </c:pt>
                <c:pt idx="1321">
                  <c:v>202.52799999999999</c:v>
                </c:pt>
                <c:pt idx="1322">
                  <c:v>206.30799999999999</c:v>
                </c:pt>
                <c:pt idx="1323">
                  <c:v>205.92400000000001</c:v>
                </c:pt>
                <c:pt idx="1324">
                  <c:v>197.53700000000001</c:v>
                </c:pt>
                <c:pt idx="1325">
                  <c:v>197.03299999999999</c:v>
                </c:pt>
                <c:pt idx="1326">
                  <c:v>196.709</c:v>
                </c:pt>
                <c:pt idx="1327">
                  <c:v>195.982</c:v>
                </c:pt>
                <c:pt idx="1328">
                  <c:v>194.92400000000001</c:v>
                </c:pt>
                <c:pt idx="1329">
                  <c:v>195.92699999999999</c:v>
                </c:pt>
                <c:pt idx="1330">
                  <c:v>194.22399999999999</c:v>
                </c:pt>
                <c:pt idx="1331">
                  <c:v>194.917</c:v>
                </c:pt>
                <c:pt idx="1332">
                  <c:v>197.21100000000001</c:v>
                </c:pt>
                <c:pt idx="1333">
                  <c:v>199.751</c:v>
                </c:pt>
                <c:pt idx="1334">
                  <c:v>206.40700000000001</c:v>
                </c:pt>
                <c:pt idx="1335">
                  <c:v>216.44499999999999</c:v>
                </c:pt>
                <c:pt idx="1336">
                  <c:v>224.483</c:v>
                </c:pt>
                <c:pt idx="1337">
                  <c:v>224.22300000000001</c:v>
                </c:pt>
                <c:pt idx="1338">
                  <c:v>240.31200000000001</c:v>
                </c:pt>
                <c:pt idx="1339">
                  <c:v>246.922</c:v>
                </c:pt>
                <c:pt idx="1340">
                  <c:v>236.256</c:v>
                </c:pt>
                <c:pt idx="1341">
                  <c:v>237.495</c:v>
                </c:pt>
                <c:pt idx="1342">
                  <c:v>238.096</c:v>
                </c:pt>
                <c:pt idx="1343">
                  <c:v>254.74</c:v>
                </c:pt>
                <c:pt idx="1344">
                  <c:v>259.67200000000003</c:v>
                </c:pt>
                <c:pt idx="1345">
                  <c:v>269.11500000000001</c:v>
                </c:pt>
                <c:pt idx="1346">
                  <c:v>281.49</c:v>
                </c:pt>
                <c:pt idx="1347">
                  <c:v>287.95800000000003</c:v>
                </c:pt>
                <c:pt idx="1348">
                  <c:v>282.24</c:v>
                </c:pt>
                <c:pt idx="1349">
                  <c:v>276.46600000000001</c:v>
                </c:pt>
                <c:pt idx="1350">
                  <c:v>272.73399999999998</c:v>
                </c:pt>
                <c:pt idx="1351">
                  <c:v>267.23899999999998</c:v>
                </c:pt>
                <c:pt idx="1352">
                  <c:v>268.66300000000001</c:v>
                </c:pt>
                <c:pt idx="1353">
                  <c:v>258.87900000000002</c:v>
                </c:pt>
                <c:pt idx="1354">
                  <c:v>255.50200000000001</c:v>
                </c:pt>
                <c:pt idx="1355">
                  <c:v>268.017</c:v>
                </c:pt>
                <c:pt idx="1356">
                  <c:v>278.86</c:v>
                </c:pt>
                <c:pt idx="1357">
                  <c:v>277.58</c:v>
                </c:pt>
                <c:pt idx="1358">
                  <c:v>279.74</c:v>
                </c:pt>
                <c:pt idx="1359">
                  <c:v>279.363</c:v>
                </c:pt>
                <c:pt idx="1360">
                  <c:v>272.12</c:v>
                </c:pt>
                <c:pt idx="1361">
                  <c:v>274.07600000000002</c:v>
                </c:pt>
                <c:pt idx="1362">
                  <c:v>279.065</c:v>
                </c:pt>
                <c:pt idx="1363">
                  <c:v>292.34899999999999</c:v>
                </c:pt>
                <c:pt idx="1364">
                  <c:v>300.41899999999998</c:v>
                </c:pt>
                <c:pt idx="1365">
                  <c:v>301.60700000000003</c:v>
                </c:pt>
                <c:pt idx="1366">
                  <c:v>312.64800000000002</c:v>
                </c:pt>
                <c:pt idx="1367">
                  <c:v>322.95100000000002</c:v>
                </c:pt>
                <c:pt idx="1368">
                  <c:v>325.649</c:v>
                </c:pt>
                <c:pt idx="1369">
                  <c:v>319.61799999999999</c:v>
                </c:pt>
                <c:pt idx="1370">
                  <c:v>313.786</c:v>
                </c:pt>
                <c:pt idx="1371">
                  <c:v>300.77300000000002</c:v>
                </c:pt>
                <c:pt idx="1372">
                  <c:v>307.97500000000002</c:v>
                </c:pt>
                <c:pt idx="1373">
                  <c:v>305.10199999999998</c:v>
                </c:pt>
                <c:pt idx="1374">
                  <c:v>305.279</c:v>
                </c:pt>
                <c:pt idx="1375">
                  <c:v>303.68900000000002</c:v>
                </c:pt>
                <c:pt idx="1376">
                  <c:v>299.60899999999998</c:v>
                </c:pt>
                <c:pt idx="1377">
                  <c:v>301.00200000000001</c:v>
                </c:pt>
                <c:pt idx="1378">
                  <c:v>300.21899999999999</c:v>
                </c:pt>
                <c:pt idx="1379">
                  <c:v>301.5</c:v>
                </c:pt>
                <c:pt idx="1380">
                  <c:v>294.37</c:v>
                </c:pt>
                <c:pt idx="1381">
                  <c:v>288.17599999999999</c:v>
                </c:pt>
                <c:pt idx="1382">
                  <c:v>279.03899999999999</c:v>
                </c:pt>
                <c:pt idx="1383">
                  <c:v>296.11900000000003</c:v>
                </c:pt>
                <c:pt idx="1384">
                  <c:v>321.00900000000001</c:v>
                </c:pt>
                <c:pt idx="1385">
                  <c:v>328.54899999999998</c:v>
                </c:pt>
                <c:pt idx="1386">
                  <c:v>324.87</c:v>
                </c:pt>
                <c:pt idx="1387">
                  <c:v>326.95800000000003</c:v>
                </c:pt>
                <c:pt idx="1388">
                  <c:v>323.21100000000001</c:v>
                </c:pt>
                <c:pt idx="1389">
                  <c:v>317.90800000000002</c:v>
                </c:pt>
                <c:pt idx="1390">
                  <c:v>315.27600000000001</c:v>
                </c:pt>
                <c:pt idx="1391">
                  <c:v>310.09100000000001</c:v>
                </c:pt>
                <c:pt idx="1392">
                  <c:v>303.80700000000002</c:v>
                </c:pt>
                <c:pt idx="1393">
                  <c:v>320.06599999999997</c:v>
                </c:pt>
                <c:pt idx="1394">
                  <c:v>316.221</c:v>
                </c:pt>
                <c:pt idx="1395">
                  <c:v>311.19400000000002</c:v>
                </c:pt>
                <c:pt idx="1396">
                  <c:v>314.101</c:v>
                </c:pt>
                <c:pt idx="1397">
                  <c:v>319.18</c:v>
                </c:pt>
                <c:pt idx="1398">
                  <c:v>321.40199999999999</c:v>
                </c:pt>
                <c:pt idx="1399">
                  <c:v>333.387</c:v>
                </c:pt>
                <c:pt idx="1400">
                  <c:v>341.61900000000003</c:v>
                </c:pt>
                <c:pt idx="1401">
                  <c:v>337.48399999999998</c:v>
                </c:pt>
                <c:pt idx="1402">
                  <c:v>344.10599999999999</c:v>
                </c:pt>
                <c:pt idx="1403">
                  <c:v>347.39800000000002</c:v>
                </c:pt>
                <c:pt idx="1404">
                  <c:v>355.233</c:v>
                </c:pt>
                <c:pt idx="1405">
                  <c:v>372.60899999999998</c:v>
                </c:pt>
                <c:pt idx="1406">
                  <c:v>437.23200000000003</c:v>
                </c:pt>
                <c:pt idx="1407">
                  <c:v>542.46900000000005</c:v>
                </c:pt>
                <c:pt idx="1408">
                  <c:v>512.84699999999998</c:v>
                </c:pt>
                <c:pt idx="1409">
                  <c:v>512.32100000000003</c:v>
                </c:pt>
                <c:pt idx="1410">
                  <c:v>476.45299999999997</c:v>
                </c:pt>
                <c:pt idx="1411">
                  <c:v>492.77800000000002</c:v>
                </c:pt>
                <c:pt idx="1412">
                  <c:v>505.529</c:v>
                </c:pt>
                <c:pt idx="1413">
                  <c:v>486.79</c:v>
                </c:pt>
                <c:pt idx="1414">
                  <c:v>478.166</c:v>
                </c:pt>
                <c:pt idx="1415">
                  <c:v>481.75599999999997</c:v>
                </c:pt>
                <c:pt idx="1416">
                  <c:v>481.46199999999999</c:v>
                </c:pt>
                <c:pt idx="1417">
                  <c:v>479.15300000000002</c:v>
                </c:pt>
                <c:pt idx="1418">
                  <c:v>484.99400000000003</c:v>
                </c:pt>
                <c:pt idx="1419">
                  <c:v>499.52600000000001</c:v>
                </c:pt>
                <c:pt idx="1420">
                  <c:v>529.92399999999998</c:v>
                </c:pt>
                <c:pt idx="1421">
                  <c:v>562.471</c:v>
                </c:pt>
                <c:pt idx="1422">
                  <c:v>572.37199999999996</c:v>
                </c:pt>
                <c:pt idx="1423">
                  <c:v>574.38499999999999</c:v>
                </c:pt>
                <c:pt idx="1424">
                  <c:v>560.80499999999995</c:v>
                </c:pt>
                <c:pt idx="1425">
                  <c:v>551.11</c:v>
                </c:pt>
                <c:pt idx="1426">
                  <c:v>534.19100000000003</c:v>
                </c:pt>
                <c:pt idx="1427">
                  <c:v>531.76700000000005</c:v>
                </c:pt>
                <c:pt idx="1428">
                  <c:v>525.31500000000005</c:v>
                </c:pt>
                <c:pt idx="1429">
                  <c:v>522.61199999999997</c:v>
                </c:pt>
                <c:pt idx="1430">
                  <c:v>461.541</c:v>
                </c:pt>
                <c:pt idx="1431">
                  <c:v>448.31299999999999</c:v>
                </c:pt>
                <c:pt idx="1432">
                  <c:v>432.11399999999998</c:v>
                </c:pt>
                <c:pt idx="1433">
                  <c:v>445.11399999999998</c:v>
                </c:pt>
                <c:pt idx="1434">
                  <c:v>419.98500000000001</c:v>
                </c:pt>
                <c:pt idx="1435">
                  <c:v>400.5</c:v>
                </c:pt>
                <c:pt idx="1436">
                  <c:v>400.95</c:v>
                </c:pt>
                <c:pt idx="1437">
                  <c:v>365.173</c:v>
                </c:pt>
                <c:pt idx="1438">
                  <c:v>380.255</c:v>
                </c:pt>
                <c:pt idx="1439">
                  <c:v>380.05700000000002</c:v>
                </c:pt>
                <c:pt idx="1440">
                  <c:v>371.61099999999999</c:v>
                </c:pt>
                <c:pt idx="1441">
                  <c:v>377.459</c:v>
                </c:pt>
                <c:pt idx="1442">
                  <c:v>382.33499999999998</c:v>
                </c:pt>
                <c:pt idx="1443">
                  <c:v>392.77699999999999</c:v>
                </c:pt>
                <c:pt idx="1444">
                  <c:v>400.22199999999998</c:v>
                </c:pt>
                <c:pt idx="1445">
                  <c:v>422.71</c:v>
                </c:pt>
                <c:pt idx="1446">
                  <c:v>420.39</c:v>
                </c:pt>
                <c:pt idx="1447">
                  <c:v>425.60599999999999</c:v>
                </c:pt>
                <c:pt idx="1448">
                  <c:v>418.06</c:v>
                </c:pt>
                <c:pt idx="1449">
                  <c:v>419.48599999999999</c:v>
                </c:pt>
                <c:pt idx="1450">
                  <c:v>414.06099999999998</c:v>
                </c:pt>
                <c:pt idx="1451">
                  <c:v>397.55599999999998</c:v>
                </c:pt>
                <c:pt idx="1452">
                  <c:v>389.55200000000002</c:v>
                </c:pt>
                <c:pt idx="1453">
                  <c:v>388.24200000000002</c:v>
                </c:pt>
                <c:pt idx="1454">
                  <c:v>383.88900000000001</c:v>
                </c:pt>
                <c:pt idx="1455">
                  <c:v>392</c:v>
                </c:pt>
                <c:pt idx="1456">
                  <c:v>392.99900000000002</c:v>
                </c:pt>
                <c:pt idx="1457">
                  <c:v>391.88900000000001</c:v>
                </c:pt>
                <c:pt idx="1458">
                  <c:v>403.23500000000001</c:v>
                </c:pt>
                <c:pt idx="1459">
                  <c:v>401.09800000000001</c:v>
                </c:pt>
                <c:pt idx="1460">
                  <c:v>357.27499999999998</c:v>
                </c:pt>
                <c:pt idx="1461">
                  <c:v>389.60199999999998</c:v>
                </c:pt>
                <c:pt idx="1462">
                  <c:v>384.91899999999998</c:v>
                </c:pt>
                <c:pt idx="1463">
                  <c:v>383.72</c:v>
                </c:pt>
                <c:pt idx="1464">
                  <c:v>389.38900000000001</c:v>
                </c:pt>
                <c:pt idx="1465">
                  <c:v>387.08600000000001</c:v>
                </c:pt>
                <c:pt idx="1466">
                  <c:v>373.80700000000002</c:v>
                </c:pt>
                <c:pt idx="1467">
                  <c:v>366.39600000000002</c:v>
                </c:pt>
                <c:pt idx="1468">
                  <c:v>364.60899999999998</c:v>
                </c:pt>
                <c:pt idx="1469">
                  <c:v>356.661</c:v>
                </c:pt>
                <c:pt idx="1470">
                  <c:v>366.005</c:v>
                </c:pt>
                <c:pt idx="1471">
                  <c:v>367.88</c:v>
                </c:pt>
                <c:pt idx="1472">
                  <c:v>369.09300000000002</c:v>
                </c:pt>
                <c:pt idx="1473">
                  <c:v>369.875</c:v>
                </c:pt>
                <c:pt idx="1474">
                  <c:v>369.541</c:v>
                </c:pt>
                <c:pt idx="1475">
                  <c:v>366.79399999999998</c:v>
                </c:pt>
                <c:pt idx="1476">
                  <c:v>372.06900000000002</c:v>
                </c:pt>
                <c:pt idx="1477">
                  <c:v>374.66199999999998</c:v>
                </c:pt>
                <c:pt idx="1478">
                  <c:v>388.76100000000002</c:v>
                </c:pt>
                <c:pt idx="1479">
                  <c:v>383.54199999999997</c:v>
                </c:pt>
                <c:pt idx="1480">
                  <c:v>383.61399999999998</c:v>
                </c:pt>
                <c:pt idx="1481">
                  <c:v>389.464</c:v>
                </c:pt>
                <c:pt idx="1482">
                  <c:v>389.36700000000002</c:v>
                </c:pt>
                <c:pt idx="1483">
                  <c:v>400.79</c:v>
                </c:pt>
                <c:pt idx="1484">
                  <c:v>392.62099999999998</c:v>
                </c:pt>
                <c:pt idx="1485">
                  <c:v>387.065</c:v>
                </c:pt>
                <c:pt idx="1486">
                  <c:v>386.714</c:v>
                </c:pt>
                <c:pt idx="1487">
                  <c:v>379.58199999999999</c:v>
                </c:pt>
                <c:pt idx="1488">
                  <c:v>391.42500000000001</c:v>
                </c:pt>
                <c:pt idx="1489">
                  <c:v>389.25099999999998</c:v>
                </c:pt>
                <c:pt idx="1490">
                  <c:v>397.25099999999998</c:v>
                </c:pt>
                <c:pt idx="1491">
                  <c:v>387.51400000000001</c:v>
                </c:pt>
                <c:pt idx="1492">
                  <c:v>393.5</c:v>
                </c:pt>
                <c:pt idx="1493">
                  <c:v>393.459</c:v>
                </c:pt>
                <c:pt idx="1494">
                  <c:v>388.09699999999998</c:v>
                </c:pt>
                <c:pt idx="1495">
                  <c:v>385.60399999999998</c:v>
                </c:pt>
                <c:pt idx="1496">
                  <c:v>382.27100000000002</c:v>
                </c:pt>
                <c:pt idx="1497">
                  <c:v>379.94900000000001</c:v>
                </c:pt>
                <c:pt idx="1498">
                  <c:v>377.86700000000002</c:v>
                </c:pt>
                <c:pt idx="1499">
                  <c:v>363.43099999999998</c:v>
                </c:pt>
                <c:pt idx="1500">
                  <c:v>365.54</c:v>
                </c:pt>
                <c:pt idx="1501">
                  <c:v>366.56099999999998</c:v>
                </c:pt>
                <c:pt idx="1502">
                  <c:v>367.12900000000002</c:v>
                </c:pt>
                <c:pt idx="1503">
                  <c:v>367.20299999999997</c:v>
                </c:pt>
                <c:pt idx="1504">
                  <c:v>367.14</c:v>
                </c:pt>
                <c:pt idx="1505">
                  <c:v>364.41399999999999</c:v>
                </c:pt>
                <c:pt idx="1506">
                  <c:v>363.25700000000001</c:v>
                </c:pt>
                <c:pt idx="1507">
                  <c:v>361.56</c:v>
                </c:pt>
                <c:pt idx="1508">
                  <c:v>361.24</c:v>
                </c:pt>
                <c:pt idx="1509">
                  <c:v>367.83300000000003</c:v>
                </c:pt>
                <c:pt idx="1510">
                  <c:v>370.72300000000001</c:v>
                </c:pt>
                <c:pt idx="1511">
                  <c:v>364.529</c:v>
                </c:pt>
                <c:pt idx="1512">
                  <c:v>356.88400000000001</c:v>
                </c:pt>
                <c:pt idx="1513">
                  <c:v>369.887</c:v>
                </c:pt>
                <c:pt idx="1514">
                  <c:v>370.04700000000003</c:v>
                </c:pt>
                <c:pt idx="1515">
                  <c:v>370.21</c:v>
                </c:pt>
                <c:pt idx="1516">
                  <c:v>372.798</c:v>
                </c:pt>
                <c:pt idx="1517">
                  <c:v>380.10300000000001</c:v>
                </c:pt>
                <c:pt idx="1518">
                  <c:v>370.74400000000003</c:v>
                </c:pt>
                <c:pt idx="1519">
                  <c:v>359.97</c:v>
                </c:pt>
                <c:pt idx="1520">
                  <c:v>350.79399999999998</c:v>
                </c:pt>
                <c:pt idx="1521">
                  <c:v>332.875</c:v>
                </c:pt>
                <c:pt idx="1522">
                  <c:v>333.24299999999999</c:v>
                </c:pt>
                <c:pt idx="1523">
                  <c:v>336.78100000000001</c:v>
                </c:pt>
                <c:pt idx="1524">
                  <c:v>323.44799999999998</c:v>
                </c:pt>
                <c:pt idx="1525">
                  <c:v>317.33199999999999</c:v>
                </c:pt>
                <c:pt idx="1526">
                  <c:v>319.87299999999999</c:v>
                </c:pt>
                <c:pt idx="1527">
                  <c:v>326.61200000000002</c:v>
                </c:pt>
                <c:pt idx="1528">
                  <c:v>328.05799999999999</c:v>
                </c:pt>
                <c:pt idx="1529">
                  <c:v>322.375</c:v>
                </c:pt>
                <c:pt idx="1530">
                  <c:v>304.80500000000001</c:v>
                </c:pt>
                <c:pt idx="1531">
                  <c:v>309.71800000000002</c:v>
                </c:pt>
                <c:pt idx="1532">
                  <c:v>308.84199999999998</c:v>
                </c:pt>
                <c:pt idx="1533">
                  <c:v>297.36399999999998</c:v>
                </c:pt>
                <c:pt idx="1534">
                  <c:v>303.22500000000002</c:v>
                </c:pt>
                <c:pt idx="1535">
                  <c:v>309.024</c:v>
                </c:pt>
                <c:pt idx="1536">
                  <c:v>317.19900000000001</c:v>
                </c:pt>
                <c:pt idx="1537">
                  <c:v>320.55900000000003</c:v>
                </c:pt>
                <c:pt idx="1538">
                  <c:v>315.411</c:v>
                </c:pt>
                <c:pt idx="1539">
                  <c:v>311.42899999999997</c:v>
                </c:pt>
                <c:pt idx="1540">
                  <c:v>315.37200000000001</c:v>
                </c:pt>
                <c:pt idx="1541">
                  <c:v>314.06400000000002</c:v>
                </c:pt>
                <c:pt idx="1542">
                  <c:v>315.32799999999997</c:v>
                </c:pt>
                <c:pt idx="1543">
                  <c:v>315.69</c:v>
                </c:pt>
                <c:pt idx="1544">
                  <c:v>321.053</c:v>
                </c:pt>
                <c:pt idx="1545">
                  <c:v>323.12200000000001</c:v>
                </c:pt>
                <c:pt idx="1546">
                  <c:v>322.37</c:v>
                </c:pt>
                <c:pt idx="1547">
                  <c:v>315.43200000000002</c:v>
                </c:pt>
                <c:pt idx="1548">
                  <c:v>310.53199999999998</c:v>
                </c:pt>
                <c:pt idx="1549">
                  <c:v>305.48500000000001</c:v>
                </c:pt>
                <c:pt idx="1550">
                  <c:v>305.69</c:v>
                </c:pt>
                <c:pt idx="1551">
                  <c:v>310.61500000000001</c:v>
                </c:pt>
                <c:pt idx="1552">
                  <c:v>312.97000000000003</c:v>
                </c:pt>
                <c:pt idx="1553">
                  <c:v>317.13200000000001</c:v>
                </c:pt>
                <c:pt idx="1554">
                  <c:v>317.16699999999997</c:v>
                </c:pt>
                <c:pt idx="1555">
                  <c:v>328.005</c:v>
                </c:pt>
                <c:pt idx="1556">
                  <c:v>331.77600000000001</c:v>
                </c:pt>
                <c:pt idx="1557">
                  <c:v>329.50400000000002</c:v>
                </c:pt>
                <c:pt idx="1558">
                  <c:v>324.08999999999997</c:v>
                </c:pt>
                <c:pt idx="1559">
                  <c:v>321.86399999999998</c:v>
                </c:pt>
                <c:pt idx="1560">
                  <c:v>320.726</c:v>
                </c:pt>
                <c:pt idx="1561">
                  <c:v>318.49</c:v>
                </c:pt>
                <c:pt idx="1562">
                  <c:v>310.70699999999999</c:v>
                </c:pt>
                <c:pt idx="1563">
                  <c:v>311.78399999999999</c:v>
                </c:pt>
                <c:pt idx="1564">
                  <c:v>334.73500000000001</c:v>
                </c:pt>
                <c:pt idx="1565">
                  <c:v>351.75900000000001</c:v>
                </c:pt>
                <c:pt idx="1566">
                  <c:v>401.62900000000002</c:v>
                </c:pt>
                <c:pt idx="1567">
                  <c:v>409.89800000000002</c:v>
                </c:pt>
                <c:pt idx="1568">
                  <c:v>414.17599999999999</c:v>
                </c:pt>
                <c:pt idx="1569">
                  <c:v>458.79899999999998</c:v>
                </c:pt>
                <c:pt idx="1570">
                  <c:v>447.185</c:v>
                </c:pt>
                <c:pt idx="1571">
                  <c:v>434.80900000000003</c:v>
                </c:pt>
                <c:pt idx="1572">
                  <c:v>393.05900000000003</c:v>
                </c:pt>
                <c:pt idx="1573">
                  <c:v>412.70800000000003</c:v>
                </c:pt>
                <c:pt idx="1574">
                  <c:v>397.351</c:v>
                </c:pt>
                <c:pt idx="1575">
                  <c:v>387.35399999999998</c:v>
                </c:pt>
                <c:pt idx="1576">
                  <c:v>392.03899999999999</c:v>
                </c:pt>
                <c:pt idx="1577">
                  <c:v>408.50700000000001</c:v>
                </c:pt>
                <c:pt idx="1578">
                  <c:v>410.12400000000002</c:v>
                </c:pt>
                <c:pt idx="1579">
                  <c:v>415.20800000000003</c:v>
                </c:pt>
                <c:pt idx="1580">
                  <c:v>437.56299999999999</c:v>
                </c:pt>
                <c:pt idx="1581">
                  <c:v>451.858</c:v>
                </c:pt>
                <c:pt idx="1582">
                  <c:v>455.99799999999999</c:v>
                </c:pt>
                <c:pt idx="1583">
                  <c:v>436.12099999999998</c:v>
                </c:pt>
                <c:pt idx="1584">
                  <c:v>426.34699999999998</c:v>
                </c:pt>
                <c:pt idx="1585">
                  <c:v>436.851</c:v>
                </c:pt>
                <c:pt idx="1586">
                  <c:v>436.84</c:v>
                </c:pt>
                <c:pt idx="1587">
                  <c:v>436.84</c:v>
                </c:pt>
                <c:pt idx="1588">
                  <c:v>434.70400000000001</c:v>
                </c:pt>
                <c:pt idx="1589">
                  <c:v>438.79899999999998</c:v>
                </c:pt>
                <c:pt idx="1590">
                  <c:v>460.84500000000003</c:v>
                </c:pt>
                <c:pt idx="1591">
                  <c:v>461.18400000000003</c:v>
                </c:pt>
                <c:pt idx="1592">
                  <c:v>454.14699999999999</c:v>
                </c:pt>
                <c:pt idx="1593">
                  <c:v>451.72300000000001</c:v>
                </c:pt>
                <c:pt idx="1594">
                  <c:v>444.14</c:v>
                </c:pt>
                <c:pt idx="1595">
                  <c:v>447.37799999999999</c:v>
                </c:pt>
                <c:pt idx="1596">
                  <c:v>442.60199999999998</c:v>
                </c:pt>
                <c:pt idx="1597">
                  <c:v>442.60199999999998</c:v>
                </c:pt>
                <c:pt idx="1598">
                  <c:v>465.66399999999999</c:v>
                </c:pt>
                <c:pt idx="1599">
                  <c:v>475.24700000000001</c:v>
                </c:pt>
                <c:pt idx="1600">
                  <c:v>494.32100000000003</c:v>
                </c:pt>
                <c:pt idx="1601">
                  <c:v>487.54199999999997</c:v>
                </c:pt>
                <c:pt idx="1602">
                  <c:v>497.11700000000002</c:v>
                </c:pt>
                <c:pt idx="1603">
                  <c:v>487.82400000000001</c:v>
                </c:pt>
                <c:pt idx="1604">
                  <c:v>492.98</c:v>
                </c:pt>
                <c:pt idx="1605">
                  <c:v>488.73700000000002</c:v>
                </c:pt>
                <c:pt idx="1606">
                  <c:v>489.90499999999997</c:v>
                </c:pt>
                <c:pt idx="1607">
                  <c:v>485.25200000000001</c:v>
                </c:pt>
                <c:pt idx="1608">
                  <c:v>489.15800000000002</c:v>
                </c:pt>
                <c:pt idx="1609">
                  <c:v>506.125</c:v>
                </c:pt>
                <c:pt idx="1610">
                  <c:v>520.505</c:v>
                </c:pt>
                <c:pt idx="1611">
                  <c:v>518.68899999999996</c:v>
                </c:pt>
                <c:pt idx="1612">
                  <c:v>518.68899999999996</c:v>
                </c:pt>
                <c:pt idx="1613">
                  <c:v>517.53099999999995</c:v>
                </c:pt>
                <c:pt idx="1614">
                  <c:v>520.10699999999997</c:v>
                </c:pt>
                <c:pt idx="1615">
                  <c:v>492.10500000000002</c:v>
                </c:pt>
                <c:pt idx="1616">
                  <c:v>487.36900000000003</c:v>
                </c:pt>
                <c:pt idx="1617">
                  <c:v>489.08800000000002</c:v>
                </c:pt>
                <c:pt idx="1618">
                  <c:v>475.11599999999999</c:v>
                </c:pt>
                <c:pt idx="1619">
                  <c:v>464.96600000000001</c:v>
                </c:pt>
                <c:pt idx="1620">
                  <c:v>473.23500000000001</c:v>
                </c:pt>
                <c:pt idx="1621">
                  <c:v>472.09899999999999</c:v>
                </c:pt>
                <c:pt idx="1622">
                  <c:v>463.09899999999999</c:v>
                </c:pt>
                <c:pt idx="1623">
                  <c:v>470.74099999999999</c:v>
                </c:pt>
                <c:pt idx="1624">
                  <c:v>467.33199999999999</c:v>
                </c:pt>
                <c:pt idx="1625">
                  <c:v>472.55</c:v>
                </c:pt>
                <c:pt idx="1626">
                  <c:v>483.83300000000003</c:v>
                </c:pt>
                <c:pt idx="1627">
                  <c:v>484.80399999999997</c:v>
                </c:pt>
                <c:pt idx="1628">
                  <c:v>468.726</c:v>
                </c:pt>
                <c:pt idx="1629">
                  <c:v>457.29300000000001</c:v>
                </c:pt>
                <c:pt idx="1630">
                  <c:v>437.226</c:v>
                </c:pt>
                <c:pt idx="1631">
                  <c:v>446.34300000000002</c:v>
                </c:pt>
                <c:pt idx="1632">
                  <c:v>433.03100000000001</c:v>
                </c:pt>
                <c:pt idx="1633">
                  <c:v>418.62200000000001</c:v>
                </c:pt>
                <c:pt idx="1634">
                  <c:v>414.39699999999999</c:v>
                </c:pt>
                <c:pt idx="1635">
                  <c:v>400.61500000000001</c:v>
                </c:pt>
                <c:pt idx="1636">
                  <c:v>397.625</c:v>
                </c:pt>
                <c:pt idx="1637">
                  <c:v>371.18099999999998</c:v>
                </c:pt>
                <c:pt idx="1638">
                  <c:v>371.53100000000001</c:v>
                </c:pt>
                <c:pt idx="1639">
                  <c:v>374.74900000000002</c:v>
                </c:pt>
                <c:pt idx="1640">
                  <c:v>371.178</c:v>
                </c:pt>
                <c:pt idx="1641">
                  <c:v>376.15800000000002</c:v>
                </c:pt>
                <c:pt idx="1642">
                  <c:v>397.12400000000002</c:v>
                </c:pt>
                <c:pt idx="1643">
                  <c:v>395.64699999999999</c:v>
                </c:pt>
                <c:pt idx="1644">
                  <c:v>397.00200000000001</c:v>
                </c:pt>
                <c:pt idx="1645">
                  <c:v>400.18</c:v>
                </c:pt>
                <c:pt idx="1646">
                  <c:v>410.20299999999997</c:v>
                </c:pt>
                <c:pt idx="1647">
                  <c:v>399.072</c:v>
                </c:pt>
                <c:pt idx="1648">
                  <c:v>389.55099999999999</c:v>
                </c:pt>
                <c:pt idx="1649">
                  <c:v>381.93599999999998</c:v>
                </c:pt>
                <c:pt idx="1650">
                  <c:v>382.93</c:v>
                </c:pt>
                <c:pt idx="1651">
                  <c:v>373.25900000000001</c:v>
                </c:pt>
                <c:pt idx="1652">
                  <c:v>375.995</c:v>
                </c:pt>
                <c:pt idx="1653">
                  <c:v>367.15699999999998</c:v>
                </c:pt>
                <c:pt idx="1654">
                  <c:v>361.24099999999999</c:v>
                </c:pt>
                <c:pt idx="1655">
                  <c:v>357.93400000000003</c:v>
                </c:pt>
                <c:pt idx="1656">
                  <c:v>354.46699999999998</c:v>
                </c:pt>
                <c:pt idx="1657">
                  <c:v>352.42</c:v>
                </c:pt>
                <c:pt idx="1658">
                  <c:v>354.06799999999998</c:v>
                </c:pt>
                <c:pt idx="1659">
                  <c:v>361.43799999999999</c:v>
                </c:pt>
                <c:pt idx="1660">
                  <c:v>364.84699999999998</c:v>
                </c:pt>
                <c:pt idx="1661">
                  <c:v>375.93599999999998</c:v>
                </c:pt>
                <c:pt idx="1662">
                  <c:v>393.81900000000002</c:v>
                </c:pt>
                <c:pt idx="1663">
                  <c:v>395.851</c:v>
                </c:pt>
                <c:pt idx="1664">
                  <c:v>388.66199999999998</c:v>
                </c:pt>
                <c:pt idx="1665">
                  <c:v>382.82799999999997</c:v>
                </c:pt>
                <c:pt idx="1666">
                  <c:v>387.73899999999998</c:v>
                </c:pt>
                <c:pt idx="1667">
                  <c:v>402.99700000000001</c:v>
                </c:pt>
                <c:pt idx="1668">
                  <c:v>398.029</c:v>
                </c:pt>
                <c:pt idx="1669">
                  <c:v>416.96199999999999</c:v>
                </c:pt>
                <c:pt idx="1670">
                  <c:v>419.64600000000002</c:v>
                </c:pt>
                <c:pt idx="1671">
                  <c:v>410.375</c:v>
                </c:pt>
                <c:pt idx="1672">
                  <c:v>405.78300000000002</c:v>
                </c:pt>
                <c:pt idx="1673">
                  <c:v>416.37200000000001</c:v>
                </c:pt>
                <c:pt idx="1674">
                  <c:v>413.12299999999999</c:v>
                </c:pt>
                <c:pt idx="1675">
                  <c:v>418.28300000000002</c:v>
                </c:pt>
                <c:pt idx="1676">
                  <c:v>421.459</c:v>
                </c:pt>
                <c:pt idx="1677">
                  <c:v>421.416</c:v>
                </c:pt>
                <c:pt idx="1678">
                  <c:v>428.30500000000001</c:v>
                </c:pt>
                <c:pt idx="1679">
                  <c:v>429.46199999999999</c:v>
                </c:pt>
                <c:pt idx="1680">
                  <c:v>436.91199999999998</c:v>
                </c:pt>
                <c:pt idx="1681">
                  <c:v>429.86700000000002</c:v>
                </c:pt>
                <c:pt idx="1682">
                  <c:v>423.14800000000002</c:v>
                </c:pt>
                <c:pt idx="1683">
                  <c:v>402.721</c:v>
                </c:pt>
                <c:pt idx="1684">
                  <c:v>386.51</c:v>
                </c:pt>
                <c:pt idx="1685">
                  <c:v>380.27199999999999</c:v>
                </c:pt>
                <c:pt idx="1686">
                  <c:v>384.67200000000003</c:v>
                </c:pt>
                <c:pt idx="1687">
                  <c:v>392.49099999999999</c:v>
                </c:pt>
                <c:pt idx="1688">
                  <c:v>397.99900000000002</c:v>
                </c:pt>
                <c:pt idx="1689">
                  <c:v>396.76</c:v>
                </c:pt>
                <c:pt idx="1690">
                  <c:v>383.86099999999999</c:v>
                </c:pt>
                <c:pt idx="1691">
                  <c:v>384.512</c:v>
                </c:pt>
                <c:pt idx="1692">
                  <c:v>385.22</c:v>
                </c:pt>
                <c:pt idx="1693">
                  <c:v>381.726</c:v>
                </c:pt>
                <c:pt idx="1694">
                  <c:v>376.53699999999998</c:v>
                </c:pt>
                <c:pt idx="1695">
                  <c:v>371.87200000000001</c:v>
                </c:pt>
                <c:pt idx="1696">
                  <c:v>380.31</c:v>
                </c:pt>
                <c:pt idx="1697">
                  <c:v>383.43900000000002</c:v>
                </c:pt>
                <c:pt idx="1698">
                  <c:v>385.149</c:v>
                </c:pt>
                <c:pt idx="1699">
                  <c:v>379.702</c:v>
                </c:pt>
                <c:pt idx="1700">
                  <c:v>368.52</c:v>
                </c:pt>
                <c:pt idx="1701">
                  <c:v>360.93200000000002</c:v>
                </c:pt>
                <c:pt idx="1702">
                  <c:v>357.97500000000002</c:v>
                </c:pt>
                <c:pt idx="1703">
                  <c:v>363.60399999999998</c:v>
                </c:pt>
                <c:pt idx="1704">
                  <c:v>372.50200000000001</c:v>
                </c:pt>
                <c:pt idx="1705">
                  <c:v>369.26100000000002</c:v>
                </c:pt>
                <c:pt idx="1706">
                  <c:v>363.202</c:v>
                </c:pt>
                <c:pt idx="1707">
                  <c:v>380.55599999999998</c:v>
                </c:pt>
                <c:pt idx="1708">
                  <c:v>384.28199999999998</c:v>
                </c:pt>
                <c:pt idx="1709">
                  <c:v>390.58</c:v>
                </c:pt>
                <c:pt idx="1710">
                  <c:v>400.79300000000001</c:v>
                </c:pt>
                <c:pt idx="1711">
                  <c:v>391.79500000000002</c:v>
                </c:pt>
                <c:pt idx="1712">
                  <c:v>413.04300000000001</c:v>
                </c:pt>
                <c:pt idx="1713">
                  <c:v>397.94900000000001</c:v>
                </c:pt>
                <c:pt idx="1714">
                  <c:v>403.45499999999998</c:v>
                </c:pt>
                <c:pt idx="1715">
                  <c:v>390.10899999999998</c:v>
                </c:pt>
                <c:pt idx="1716">
                  <c:v>375.28300000000002</c:v>
                </c:pt>
                <c:pt idx="1717">
                  <c:v>387.68400000000003</c:v>
                </c:pt>
                <c:pt idx="1718">
                  <c:v>377.57600000000002</c:v>
                </c:pt>
                <c:pt idx="1719">
                  <c:v>363.87099999999998</c:v>
                </c:pt>
                <c:pt idx="1720">
                  <c:v>358.483</c:v>
                </c:pt>
                <c:pt idx="1721">
                  <c:v>337.29</c:v>
                </c:pt>
                <c:pt idx="1722">
                  <c:v>328.69499999999999</c:v>
                </c:pt>
                <c:pt idx="1723">
                  <c:v>334.80700000000002</c:v>
                </c:pt>
                <c:pt idx="1724">
                  <c:v>335.62799999999999</c:v>
                </c:pt>
                <c:pt idx="1725">
                  <c:v>339.37900000000002</c:v>
                </c:pt>
                <c:pt idx="1726">
                  <c:v>336.05500000000001</c:v>
                </c:pt>
                <c:pt idx="1727">
                  <c:v>329.49799999999999</c:v>
                </c:pt>
                <c:pt idx="1728">
                  <c:v>328.34800000000001</c:v>
                </c:pt>
                <c:pt idx="1729">
                  <c:v>327.97699999999998</c:v>
                </c:pt>
                <c:pt idx="1730">
                  <c:v>313.61500000000001</c:v>
                </c:pt>
                <c:pt idx="1731">
                  <c:v>317.05500000000001</c:v>
                </c:pt>
                <c:pt idx="1732">
                  <c:v>317.79399999999998</c:v>
                </c:pt>
                <c:pt idx="1733">
                  <c:v>314.90100000000001</c:v>
                </c:pt>
                <c:pt idx="1734">
                  <c:v>315.815</c:v>
                </c:pt>
                <c:pt idx="1735">
                  <c:v>312.38400000000001</c:v>
                </c:pt>
                <c:pt idx="1736">
                  <c:v>308.483</c:v>
                </c:pt>
                <c:pt idx="1737">
                  <c:v>305.38200000000001</c:v>
                </c:pt>
                <c:pt idx="1738">
                  <c:v>307.43</c:v>
                </c:pt>
                <c:pt idx="1739">
                  <c:v>309.58199999999999</c:v>
                </c:pt>
                <c:pt idx="1740">
                  <c:v>308.286</c:v>
                </c:pt>
                <c:pt idx="1741">
                  <c:v>304.19799999999998</c:v>
                </c:pt>
                <c:pt idx="1742">
                  <c:v>311.904</c:v>
                </c:pt>
                <c:pt idx="1743">
                  <c:v>315.76</c:v>
                </c:pt>
                <c:pt idx="1744">
                  <c:v>322.57299999999998</c:v>
                </c:pt>
                <c:pt idx="1745">
                  <c:v>322.75</c:v>
                </c:pt>
                <c:pt idx="1746">
                  <c:v>319.54500000000002</c:v>
                </c:pt>
                <c:pt idx="1747">
                  <c:v>317.12400000000002</c:v>
                </c:pt>
                <c:pt idx="1748">
                  <c:v>323.53300000000002</c:v>
                </c:pt>
                <c:pt idx="1749">
                  <c:v>316.452</c:v>
                </c:pt>
                <c:pt idx="1750">
                  <c:v>311.59899999999999</c:v>
                </c:pt>
                <c:pt idx="1751">
                  <c:v>309.68900000000002</c:v>
                </c:pt>
                <c:pt idx="1752">
                  <c:v>310.10199999999998</c:v>
                </c:pt>
                <c:pt idx="1753">
                  <c:v>306.46100000000001</c:v>
                </c:pt>
                <c:pt idx="1754">
                  <c:v>307.79599999999999</c:v>
                </c:pt>
                <c:pt idx="1755">
                  <c:v>297.63299999999998</c:v>
                </c:pt>
                <c:pt idx="1756">
                  <c:v>293.267</c:v>
                </c:pt>
                <c:pt idx="1757">
                  <c:v>287.96899999999999</c:v>
                </c:pt>
                <c:pt idx="1758">
                  <c:v>285.02999999999997</c:v>
                </c:pt>
                <c:pt idx="1759">
                  <c:v>286.86599999999999</c:v>
                </c:pt>
                <c:pt idx="1760">
                  <c:v>286.82499999999999</c:v>
                </c:pt>
                <c:pt idx="1761">
                  <c:v>284.108</c:v>
                </c:pt>
                <c:pt idx="1762">
                  <c:v>283.767</c:v>
                </c:pt>
                <c:pt idx="1763">
                  <c:v>283.89499999999998</c:v>
                </c:pt>
                <c:pt idx="1764">
                  <c:v>283.89499999999998</c:v>
                </c:pt>
                <c:pt idx="1765">
                  <c:v>283.89499999999998</c:v>
                </c:pt>
                <c:pt idx="1766">
                  <c:v>282.52300000000002</c:v>
                </c:pt>
                <c:pt idx="1767">
                  <c:v>282.23399999999998</c:v>
                </c:pt>
                <c:pt idx="1768">
                  <c:v>282.13</c:v>
                </c:pt>
                <c:pt idx="1769">
                  <c:v>282.13</c:v>
                </c:pt>
                <c:pt idx="1770">
                  <c:v>278.51</c:v>
                </c:pt>
                <c:pt idx="1771">
                  <c:v>285.334</c:v>
                </c:pt>
                <c:pt idx="1772">
                  <c:v>286.63099999999997</c:v>
                </c:pt>
                <c:pt idx="1773">
                  <c:v>285.99099999999999</c:v>
                </c:pt>
                <c:pt idx="1774">
                  <c:v>279.56900000000002</c:v>
                </c:pt>
                <c:pt idx="1775">
                  <c:v>273.20499999999998</c:v>
                </c:pt>
                <c:pt idx="1776">
                  <c:v>272.25400000000002</c:v>
                </c:pt>
                <c:pt idx="1777">
                  <c:v>264.64400000000001</c:v>
                </c:pt>
                <c:pt idx="1778">
                  <c:v>262.79199999999997</c:v>
                </c:pt>
                <c:pt idx="1779">
                  <c:v>250.39599999999999</c:v>
                </c:pt>
                <c:pt idx="1780">
                  <c:v>245.833</c:v>
                </c:pt>
                <c:pt idx="1781">
                  <c:v>250.107</c:v>
                </c:pt>
                <c:pt idx="1782">
                  <c:v>250.107</c:v>
                </c:pt>
                <c:pt idx="1783">
                  <c:v>249.05</c:v>
                </c:pt>
                <c:pt idx="1784">
                  <c:v>239.858</c:v>
                </c:pt>
                <c:pt idx="1785">
                  <c:v>241.762</c:v>
                </c:pt>
                <c:pt idx="1786">
                  <c:v>237.661</c:v>
                </c:pt>
                <c:pt idx="1787">
                  <c:v>247.59700000000001</c:v>
                </c:pt>
                <c:pt idx="1788">
                  <c:v>238.84</c:v>
                </c:pt>
                <c:pt idx="1789">
                  <c:v>238.88</c:v>
                </c:pt>
                <c:pt idx="1790">
                  <c:v>242.78</c:v>
                </c:pt>
                <c:pt idx="1791">
                  <c:v>240.56200000000001</c:v>
                </c:pt>
                <c:pt idx="1792">
                  <c:v>244.16399999999999</c:v>
                </c:pt>
                <c:pt idx="1793">
                  <c:v>240.155</c:v>
                </c:pt>
                <c:pt idx="1794">
                  <c:v>239.65199999999999</c:v>
                </c:pt>
                <c:pt idx="1795">
                  <c:v>241.45400000000001</c:v>
                </c:pt>
                <c:pt idx="1796">
                  <c:v>257.78800000000001</c:v>
                </c:pt>
                <c:pt idx="1797">
                  <c:v>281.13200000000001</c:v>
                </c:pt>
                <c:pt idx="1798">
                  <c:v>276.62299999999999</c:v>
                </c:pt>
                <c:pt idx="1799">
                  <c:v>270.88499999999999</c:v>
                </c:pt>
                <c:pt idx="1800">
                  <c:v>271.87599999999998</c:v>
                </c:pt>
                <c:pt idx="1801">
                  <c:v>267.52499999999998</c:v>
                </c:pt>
                <c:pt idx="1802">
                  <c:v>263.93200000000002</c:v>
                </c:pt>
                <c:pt idx="1803">
                  <c:v>261.67099999999999</c:v>
                </c:pt>
                <c:pt idx="1804">
                  <c:v>261.52499999999998</c:v>
                </c:pt>
                <c:pt idx="1805">
                  <c:v>261.52499999999998</c:v>
                </c:pt>
                <c:pt idx="1806">
                  <c:v>288.10500000000002</c:v>
                </c:pt>
                <c:pt idx="1807">
                  <c:v>298.68200000000002</c:v>
                </c:pt>
                <c:pt idx="1808">
                  <c:v>299.601</c:v>
                </c:pt>
                <c:pt idx="1809">
                  <c:v>299.601</c:v>
                </c:pt>
                <c:pt idx="1810">
                  <c:v>299.601</c:v>
                </c:pt>
                <c:pt idx="1811">
                  <c:v>299.601</c:v>
                </c:pt>
                <c:pt idx="1812">
                  <c:v>299.601</c:v>
                </c:pt>
                <c:pt idx="1813">
                  <c:v>299.601</c:v>
                </c:pt>
                <c:pt idx="1814">
                  <c:v>299.601</c:v>
                </c:pt>
                <c:pt idx="1815">
                  <c:v>299.601</c:v>
                </c:pt>
                <c:pt idx="1816">
                  <c:v>299.601</c:v>
                </c:pt>
                <c:pt idx="1817">
                  <c:v>299.601</c:v>
                </c:pt>
                <c:pt idx="1818">
                  <c:v>299.601</c:v>
                </c:pt>
                <c:pt idx="1819">
                  <c:v>432.15800000000002</c:v>
                </c:pt>
                <c:pt idx="1820">
                  <c:v>432.15800000000002</c:v>
                </c:pt>
                <c:pt idx="1821">
                  <c:v>468.92099999999999</c:v>
                </c:pt>
                <c:pt idx="1822">
                  <c:v>468.92099999999999</c:v>
                </c:pt>
                <c:pt idx="1823">
                  <c:v>468.92099999999999</c:v>
                </c:pt>
                <c:pt idx="1824">
                  <c:v>468.92099999999999</c:v>
                </c:pt>
                <c:pt idx="1825">
                  <c:v>468.92099999999999</c:v>
                </c:pt>
                <c:pt idx="1826">
                  <c:v>468.92099999999999</c:v>
                </c:pt>
                <c:pt idx="1827">
                  <c:v>468.92099999999999</c:v>
                </c:pt>
                <c:pt idx="1828">
                  <c:v>468.92099999999999</c:v>
                </c:pt>
                <c:pt idx="1829">
                  <c:v>468.92099999999999</c:v>
                </c:pt>
                <c:pt idx="1830">
                  <c:v>468.92099999999999</c:v>
                </c:pt>
                <c:pt idx="1831">
                  <c:v>468.92099999999999</c:v>
                </c:pt>
                <c:pt idx="1832">
                  <c:v>468.92099999999999</c:v>
                </c:pt>
                <c:pt idx="1833">
                  <c:v>468.92099999999999</c:v>
                </c:pt>
                <c:pt idx="1834">
                  <c:v>468.92099999999999</c:v>
                </c:pt>
                <c:pt idx="1835">
                  <c:v>468.92099999999999</c:v>
                </c:pt>
                <c:pt idx="1836">
                  <c:v>468.92099999999999</c:v>
                </c:pt>
                <c:pt idx="1837">
                  <c:v>468.92099999999999</c:v>
                </c:pt>
                <c:pt idx="1838">
                  <c:v>468.92099999999999</c:v>
                </c:pt>
                <c:pt idx="1839">
                  <c:v>468.92099999999999</c:v>
                </c:pt>
                <c:pt idx="1840">
                  <c:v>468.92099999999999</c:v>
                </c:pt>
                <c:pt idx="1841">
                  <c:v>468.92099999999999</c:v>
                </c:pt>
                <c:pt idx="1842">
                  <c:v>468.92099999999999</c:v>
                </c:pt>
                <c:pt idx="1843">
                  <c:v>635.39400000000001</c:v>
                </c:pt>
                <c:pt idx="1844">
                  <c:v>630.15800000000002</c:v>
                </c:pt>
                <c:pt idx="1845">
                  <c:v>619.84500000000003</c:v>
                </c:pt>
                <c:pt idx="1846">
                  <c:v>611.40899999999999</c:v>
                </c:pt>
                <c:pt idx="1847">
                  <c:v>606.50699999999995</c:v>
                </c:pt>
                <c:pt idx="1848">
                  <c:v>592.28800000000001</c:v>
                </c:pt>
                <c:pt idx="1849">
                  <c:v>592.28800000000001</c:v>
                </c:pt>
                <c:pt idx="1850">
                  <c:v>592.28800000000001</c:v>
                </c:pt>
                <c:pt idx="1851">
                  <c:v>592.28800000000001</c:v>
                </c:pt>
                <c:pt idx="1852">
                  <c:v>592.28800000000001</c:v>
                </c:pt>
                <c:pt idx="1853">
                  <c:v>592.28800000000001</c:v>
                </c:pt>
                <c:pt idx="1854">
                  <c:v>592.28800000000001</c:v>
                </c:pt>
                <c:pt idx="1855">
                  <c:v>592.28800000000001</c:v>
                </c:pt>
                <c:pt idx="1856">
                  <c:v>592.28800000000001</c:v>
                </c:pt>
                <c:pt idx="1857">
                  <c:v>592.28800000000001</c:v>
                </c:pt>
                <c:pt idx="1858">
                  <c:v>592.28800000000001</c:v>
                </c:pt>
                <c:pt idx="1859">
                  <c:v>592.28800000000001</c:v>
                </c:pt>
                <c:pt idx="1860">
                  <c:v>592.28800000000001</c:v>
                </c:pt>
                <c:pt idx="1861">
                  <c:v>592.28800000000001</c:v>
                </c:pt>
                <c:pt idx="1862">
                  <c:v>592.28800000000001</c:v>
                </c:pt>
                <c:pt idx="1863">
                  <c:v>592.28800000000001</c:v>
                </c:pt>
                <c:pt idx="1864">
                  <c:v>592.28800000000001</c:v>
                </c:pt>
                <c:pt idx="1865">
                  <c:v>592.28800000000001</c:v>
                </c:pt>
                <c:pt idx="1866">
                  <c:v>592.28800000000001</c:v>
                </c:pt>
                <c:pt idx="1867">
                  <c:v>592.28800000000001</c:v>
                </c:pt>
                <c:pt idx="1868">
                  <c:v>592.28800000000001</c:v>
                </c:pt>
                <c:pt idx="1869">
                  <c:v>592.28800000000001</c:v>
                </c:pt>
                <c:pt idx="1870">
                  <c:v>592.28800000000001</c:v>
                </c:pt>
                <c:pt idx="1871">
                  <c:v>464.80200000000002</c:v>
                </c:pt>
                <c:pt idx="1872">
                  <c:v>435.887</c:v>
                </c:pt>
                <c:pt idx="1873">
                  <c:v>432.47699999999998</c:v>
                </c:pt>
                <c:pt idx="1874">
                  <c:v>448.43900000000002</c:v>
                </c:pt>
                <c:pt idx="1875">
                  <c:v>452.52</c:v>
                </c:pt>
                <c:pt idx="1876">
                  <c:v>489.14800000000002</c:v>
                </c:pt>
                <c:pt idx="1877">
                  <c:v>479.18299999999999</c:v>
                </c:pt>
                <c:pt idx="1878">
                  <c:v>490.05099999999999</c:v>
                </c:pt>
                <c:pt idx="1879">
                  <c:v>464.61099999999999</c:v>
                </c:pt>
                <c:pt idx="1880">
                  <c:v>473.65</c:v>
                </c:pt>
                <c:pt idx="1881">
                  <c:v>478.71199999999999</c:v>
                </c:pt>
                <c:pt idx="1882">
                  <c:v>469.42599999999999</c:v>
                </c:pt>
                <c:pt idx="1883">
                  <c:v>478.61799999999999</c:v>
                </c:pt>
                <c:pt idx="1884">
                  <c:v>471.41199999999998</c:v>
                </c:pt>
                <c:pt idx="1885">
                  <c:v>496.46</c:v>
                </c:pt>
                <c:pt idx="1886">
                  <c:v>500.79199999999997</c:v>
                </c:pt>
                <c:pt idx="1887">
                  <c:v>494.721</c:v>
                </c:pt>
                <c:pt idx="1888">
                  <c:v>497.54500000000002</c:v>
                </c:pt>
                <c:pt idx="1889">
                  <c:v>491.14400000000001</c:v>
                </c:pt>
                <c:pt idx="1890">
                  <c:v>476.76600000000002</c:v>
                </c:pt>
                <c:pt idx="1891">
                  <c:v>460.69799999999998</c:v>
                </c:pt>
                <c:pt idx="1892">
                  <c:v>464.74900000000002</c:v>
                </c:pt>
                <c:pt idx="1893">
                  <c:v>479.06400000000002</c:v>
                </c:pt>
                <c:pt idx="1894">
                  <c:v>489.83199999999999</c:v>
                </c:pt>
                <c:pt idx="1895">
                  <c:v>505.09699999999998</c:v>
                </c:pt>
                <c:pt idx="1896">
                  <c:v>520.96500000000003</c:v>
                </c:pt>
                <c:pt idx="1897">
                  <c:v>527.31600000000003</c:v>
                </c:pt>
                <c:pt idx="1898">
                  <c:v>519.00300000000004</c:v>
                </c:pt>
                <c:pt idx="1899">
                  <c:v>525.44799999999998</c:v>
                </c:pt>
                <c:pt idx="1900">
                  <c:v>523.13</c:v>
                </c:pt>
                <c:pt idx="1901">
                  <c:v>532.25400000000002</c:v>
                </c:pt>
                <c:pt idx="1902">
                  <c:v>531.39800000000002</c:v>
                </c:pt>
                <c:pt idx="1903">
                  <c:v>517.77700000000004</c:v>
                </c:pt>
                <c:pt idx="1904">
                  <c:v>499.26299999999998</c:v>
                </c:pt>
                <c:pt idx="1905">
                  <c:v>489.608</c:v>
                </c:pt>
                <c:pt idx="1906">
                  <c:v>488.66899999999998</c:v>
                </c:pt>
                <c:pt idx="1907">
                  <c:v>495.84699999999998</c:v>
                </c:pt>
                <c:pt idx="1908">
                  <c:v>490.767</c:v>
                </c:pt>
                <c:pt idx="1909">
                  <c:v>549.26300000000003</c:v>
                </c:pt>
                <c:pt idx="1910">
                  <c:v>560.18399999999997</c:v>
                </c:pt>
                <c:pt idx="1911">
                  <c:v>582.74400000000003</c:v>
                </c:pt>
                <c:pt idx="1912">
                  <c:v>568.73599999999999</c:v>
                </c:pt>
                <c:pt idx="1913">
                  <c:v>561.548</c:v>
                </c:pt>
                <c:pt idx="1914">
                  <c:v>582.54200000000003</c:v>
                </c:pt>
                <c:pt idx="1915">
                  <c:v>592.41999999999996</c:v>
                </c:pt>
                <c:pt idx="1916">
                  <c:v>599.81600000000003</c:v>
                </c:pt>
                <c:pt idx="1917">
                  <c:v>583.79200000000003</c:v>
                </c:pt>
                <c:pt idx="1918">
                  <c:v>572.476</c:v>
                </c:pt>
                <c:pt idx="1919">
                  <c:v>550.101</c:v>
                </c:pt>
                <c:pt idx="1920">
                  <c:v>537.596</c:v>
                </c:pt>
                <c:pt idx="1921">
                  <c:v>549.56700000000001</c:v>
                </c:pt>
                <c:pt idx="1922">
                  <c:v>565.51800000000003</c:v>
                </c:pt>
                <c:pt idx="1923">
                  <c:v>573.78</c:v>
                </c:pt>
                <c:pt idx="1924">
                  <c:v>567.01599999999996</c:v>
                </c:pt>
                <c:pt idx="1925">
                  <c:v>543.29999999999995</c:v>
                </c:pt>
                <c:pt idx="1926">
                  <c:v>562.78200000000004</c:v>
                </c:pt>
                <c:pt idx="1927">
                  <c:v>547.98900000000003</c:v>
                </c:pt>
                <c:pt idx="1928">
                  <c:v>539.97299999999996</c:v>
                </c:pt>
                <c:pt idx="1929">
                  <c:v>545.55600000000004</c:v>
                </c:pt>
                <c:pt idx="1930">
                  <c:v>535.15700000000004</c:v>
                </c:pt>
                <c:pt idx="1931">
                  <c:v>533.56700000000001</c:v>
                </c:pt>
                <c:pt idx="1932">
                  <c:v>526.51</c:v>
                </c:pt>
                <c:pt idx="1933">
                  <c:v>526.75599999999997</c:v>
                </c:pt>
                <c:pt idx="1934">
                  <c:v>513.08000000000004</c:v>
                </c:pt>
                <c:pt idx="1935">
                  <c:v>496.27600000000001</c:v>
                </c:pt>
                <c:pt idx="1936">
                  <c:v>510.85300000000001</c:v>
                </c:pt>
                <c:pt idx="1937">
                  <c:v>516.22299999999996</c:v>
                </c:pt>
                <c:pt idx="1938">
                  <c:v>513.78399999999999</c:v>
                </c:pt>
                <c:pt idx="1939">
                  <c:v>521.01700000000005</c:v>
                </c:pt>
                <c:pt idx="1940">
                  <c:v>512.52800000000002</c:v>
                </c:pt>
                <c:pt idx="1941">
                  <c:v>508.13299999999998</c:v>
                </c:pt>
                <c:pt idx="1942">
                  <c:v>508.524</c:v>
                </c:pt>
                <c:pt idx="1943">
                  <c:v>518.05899999999997</c:v>
                </c:pt>
                <c:pt idx="1944">
                  <c:v>503.84500000000003</c:v>
                </c:pt>
                <c:pt idx="1945">
                  <c:v>509.10300000000001</c:v>
                </c:pt>
                <c:pt idx="1946">
                  <c:v>523.93100000000004</c:v>
                </c:pt>
                <c:pt idx="1947">
                  <c:v>529.18299999999999</c:v>
                </c:pt>
                <c:pt idx="1948">
                  <c:v>568.08100000000002</c:v>
                </c:pt>
                <c:pt idx="1949">
                  <c:v>568.399</c:v>
                </c:pt>
                <c:pt idx="1950">
                  <c:v>575.70500000000004</c:v>
                </c:pt>
                <c:pt idx="1951">
                  <c:v>560.78399999999999</c:v>
                </c:pt>
                <c:pt idx="1952">
                  <c:v>543.30100000000004</c:v>
                </c:pt>
                <c:pt idx="1953">
                  <c:v>548.28800000000001</c:v>
                </c:pt>
                <c:pt idx="1954">
                  <c:v>550.28599999999994</c:v>
                </c:pt>
                <c:pt idx="1955">
                  <c:v>532.505</c:v>
                </c:pt>
                <c:pt idx="1956">
                  <c:v>523.28899999999999</c:v>
                </c:pt>
                <c:pt idx="1957">
                  <c:v>521.14800000000002</c:v>
                </c:pt>
                <c:pt idx="1958">
                  <c:v>505.19099999999997</c:v>
                </c:pt>
                <c:pt idx="1959">
                  <c:v>502.31200000000001</c:v>
                </c:pt>
                <c:pt idx="1960">
                  <c:v>513.41499999999996</c:v>
                </c:pt>
                <c:pt idx="1961">
                  <c:v>528.79499999999996</c:v>
                </c:pt>
                <c:pt idx="1962">
                  <c:v>504.255</c:v>
                </c:pt>
                <c:pt idx="1963">
                  <c:v>504.55900000000003</c:v>
                </c:pt>
                <c:pt idx="1964">
                  <c:v>514.25199999999995</c:v>
                </c:pt>
                <c:pt idx="1965">
                  <c:v>525.85599999999999</c:v>
                </c:pt>
                <c:pt idx="1966">
                  <c:v>532.16800000000001</c:v>
                </c:pt>
                <c:pt idx="1967">
                  <c:v>522.66899999999998</c:v>
                </c:pt>
                <c:pt idx="1968">
                  <c:v>514.51900000000001</c:v>
                </c:pt>
                <c:pt idx="1969">
                  <c:v>509.47699999999998</c:v>
                </c:pt>
                <c:pt idx="1970">
                  <c:v>496.82600000000002</c:v>
                </c:pt>
                <c:pt idx="1971">
                  <c:v>511.42099999999999</c:v>
                </c:pt>
                <c:pt idx="1972">
                  <c:v>514.44500000000005</c:v>
                </c:pt>
                <c:pt idx="1973">
                  <c:v>534.61699999999996</c:v>
                </c:pt>
                <c:pt idx="1974">
                  <c:v>535.98199999999997</c:v>
                </c:pt>
                <c:pt idx="1975">
                  <c:v>559.15099999999995</c:v>
                </c:pt>
                <c:pt idx="1976">
                  <c:v>551.46500000000003</c:v>
                </c:pt>
                <c:pt idx="1977">
                  <c:v>558.47500000000002</c:v>
                </c:pt>
                <c:pt idx="1978">
                  <c:v>566.50199999999995</c:v>
                </c:pt>
                <c:pt idx="1979">
                  <c:v>560.41200000000003</c:v>
                </c:pt>
                <c:pt idx="1980">
                  <c:v>543.44500000000005</c:v>
                </c:pt>
                <c:pt idx="1981">
                  <c:v>518.44200000000001</c:v>
                </c:pt>
                <c:pt idx="1982">
                  <c:v>528.39800000000002</c:v>
                </c:pt>
                <c:pt idx="1983">
                  <c:v>464.02600000000001</c:v>
                </c:pt>
                <c:pt idx="1984">
                  <c:v>450.00900000000001</c:v>
                </c:pt>
                <c:pt idx="1985">
                  <c:v>403.12700000000001</c:v>
                </c:pt>
                <c:pt idx="1986">
                  <c:v>405.29</c:v>
                </c:pt>
                <c:pt idx="1987">
                  <c:v>402.81599999999997</c:v>
                </c:pt>
                <c:pt idx="1988">
                  <c:v>399.58499999999998</c:v>
                </c:pt>
                <c:pt idx="1989">
                  <c:v>411.36500000000001</c:v>
                </c:pt>
                <c:pt idx="1990">
                  <c:v>393.08199999999999</c:v>
                </c:pt>
                <c:pt idx="1991">
                  <c:v>375.27100000000002</c:v>
                </c:pt>
                <c:pt idx="1992">
                  <c:v>378.08699999999999</c:v>
                </c:pt>
                <c:pt idx="1993">
                  <c:v>387.42399999999998</c:v>
                </c:pt>
                <c:pt idx="1994">
                  <c:v>387.40499999999997</c:v>
                </c:pt>
                <c:pt idx="1995">
                  <c:v>399.30099999999999</c:v>
                </c:pt>
                <c:pt idx="1996">
                  <c:v>397.88</c:v>
                </c:pt>
                <c:pt idx="1997">
                  <c:v>385.18200000000002</c:v>
                </c:pt>
                <c:pt idx="1998">
                  <c:v>386.01</c:v>
                </c:pt>
                <c:pt idx="1999">
                  <c:v>380.81599999999997</c:v>
                </c:pt>
                <c:pt idx="2000">
                  <c:v>376.041</c:v>
                </c:pt>
                <c:pt idx="2001">
                  <c:v>369.238</c:v>
                </c:pt>
                <c:pt idx="2002">
                  <c:v>353.63299999999998</c:v>
                </c:pt>
                <c:pt idx="2003">
                  <c:v>359.15</c:v>
                </c:pt>
                <c:pt idx="2004">
                  <c:v>360.327</c:v>
                </c:pt>
                <c:pt idx="2005">
                  <c:v>371.76400000000001</c:v>
                </c:pt>
                <c:pt idx="2006">
                  <c:v>376.22</c:v>
                </c:pt>
                <c:pt idx="2007">
                  <c:v>388.685</c:v>
                </c:pt>
                <c:pt idx="2008">
                  <c:v>378.91699999999997</c:v>
                </c:pt>
                <c:pt idx="2009">
                  <c:v>364.10500000000002</c:v>
                </c:pt>
                <c:pt idx="2010">
                  <c:v>354.57400000000001</c:v>
                </c:pt>
                <c:pt idx="2011">
                  <c:v>337.84</c:v>
                </c:pt>
                <c:pt idx="2012">
                  <c:v>323.82400000000001</c:v>
                </c:pt>
                <c:pt idx="2013">
                  <c:v>336.68900000000002</c:v>
                </c:pt>
                <c:pt idx="2014">
                  <c:v>334.38900000000001</c:v>
                </c:pt>
                <c:pt idx="2015">
                  <c:v>329.47500000000002</c:v>
                </c:pt>
                <c:pt idx="2016">
                  <c:v>318.28399999999999</c:v>
                </c:pt>
                <c:pt idx="2017">
                  <c:v>316.61500000000001</c:v>
                </c:pt>
                <c:pt idx="2018">
                  <c:v>316.61500000000001</c:v>
                </c:pt>
                <c:pt idx="2019">
                  <c:v>310.61599999999999</c:v>
                </c:pt>
                <c:pt idx="2020">
                  <c:v>304.12799999999999</c:v>
                </c:pt>
                <c:pt idx="2021">
                  <c:v>306.12400000000002</c:v>
                </c:pt>
                <c:pt idx="2022">
                  <c:v>303.45800000000003</c:v>
                </c:pt>
                <c:pt idx="2023">
                  <c:v>307.04000000000002</c:v>
                </c:pt>
                <c:pt idx="2024">
                  <c:v>317.05</c:v>
                </c:pt>
                <c:pt idx="2025">
                  <c:v>311.30500000000001</c:v>
                </c:pt>
                <c:pt idx="2026">
                  <c:v>311.89100000000002</c:v>
                </c:pt>
                <c:pt idx="2027">
                  <c:v>311.065</c:v>
                </c:pt>
                <c:pt idx="2028">
                  <c:v>319.56</c:v>
                </c:pt>
                <c:pt idx="2029">
                  <c:v>331.09399999999999</c:v>
                </c:pt>
                <c:pt idx="2030">
                  <c:v>320.38499999999999</c:v>
                </c:pt>
                <c:pt idx="2031">
                  <c:v>320.50400000000002</c:v>
                </c:pt>
                <c:pt idx="2032">
                  <c:v>332.6</c:v>
                </c:pt>
                <c:pt idx="2033">
                  <c:v>334.536</c:v>
                </c:pt>
                <c:pt idx="2034">
                  <c:v>332.411</c:v>
                </c:pt>
                <c:pt idx="2035">
                  <c:v>334.84</c:v>
                </c:pt>
                <c:pt idx="2036">
                  <c:v>323.75400000000002</c:v>
                </c:pt>
                <c:pt idx="2037">
                  <c:v>329.71499999999997</c:v>
                </c:pt>
                <c:pt idx="2038">
                  <c:v>330.32799999999997</c:v>
                </c:pt>
                <c:pt idx="2039">
                  <c:v>322.45299999999997</c:v>
                </c:pt>
                <c:pt idx="2040">
                  <c:v>325.66899999999998</c:v>
                </c:pt>
                <c:pt idx="2041">
                  <c:v>320.16699999999997</c:v>
                </c:pt>
                <c:pt idx="2042">
                  <c:v>310.79899999999998</c:v>
                </c:pt>
                <c:pt idx="2043">
                  <c:v>305.642</c:v>
                </c:pt>
                <c:pt idx="2044">
                  <c:v>301.44200000000001</c:v>
                </c:pt>
                <c:pt idx="2045">
                  <c:v>299.26100000000002</c:v>
                </c:pt>
                <c:pt idx="2046">
                  <c:v>294.16300000000001</c:v>
                </c:pt>
                <c:pt idx="2047">
                  <c:v>286.53800000000001</c:v>
                </c:pt>
                <c:pt idx="2048">
                  <c:v>291.47199999999998</c:v>
                </c:pt>
                <c:pt idx="2049">
                  <c:v>295.59199999999998</c:v>
                </c:pt>
                <c:pt idx="2050">
                  <c:v>294.47500000000002</c:v>
                </c:pt>
                <c:pt idx="2051">
                  <c:v>292.96499999999997</c:v>
                </c:pt>
                <c:pt idx="2052">
                  <c:v>289.89699999999999</c:v>
                </c:pt>
                <c:pt idx="2053">
                  <c:v>284.90300000000002</c:v>
                </c:pt>
                <c:pt idx="2054">
                  <c:v>290.08</c:v>
                </c:pt>
                <c:pt idx="2055">
                  <c:v>293.25099999999998</c:v>
                </c:pt>
                <c:pt idx="2056">
                  <c:v>287.80700000000002</c:v>
                </c:pt>
                <c:pt idx="2057">
                  <c:v>285.03300000000002</c:v>
                </c:pt>
                <c:pt idx="2058">
                  <c:v>290.387</c:v>
                </c:pt>
                <c:pt idx="2059">
                  <c:v>294.34199999999998</c:v>
                </c:pt>
                <c:pt idx="2060">
                  <c:v>293.411</c:v>
                </c:pt>
                <c:pt idx="2061">
                  <c:v>297.57</c:v>
                </c:pt>
                <c:pt idx="2062">
                  <c:v>321.06599999999997</c:v>
                </c:pt>
                <c:pt idx="2063">
                  <c:v>309.33999999999997</c:v>
                </c:pt>
                <c:pt idx="2064">
                  <c:v>309.14400000000001</c:v>
                </c:pt>
                <c:pt idx="2065">
                  <c:v>316.80900000000003</c:v>
                </c:pt>
                <c:pt idx="2066">
                  <c:v>323.142</c:v>
                </c:pt>
                <c:pt idx="2067">
                  <c:v>332.36500000000001</c:v>
                </c:pt>
                <c:pt idx="2068">
                  <c:v>345.048</c:v>
                </c:pt>
                <c:pt idx="2069">
                  <c:v>337.50900000000001</c:v>
                </c:pt>
                <c:pt idx="2070">
                  <c:v>331.084</c:v>
                </c:pt>
                <c:pt idx="2071">
                  <c:v>315.815</c:v>
                </c:pt>
                <c:pt idx="2072">
                  <c:v>325.14100000000002</c:v>
                </c:pt>
                <c:pt idx="2073">
                  <c:v>320.274</c:v>
                </c:pt>
                <c:pt idx="2074">
                  <c:v>313.93099999999998</c:v>
                </c:pt>
                <c:pt idx="2075">
                  <c:v>325.03699999999998</c:v>
                </c:pt>
                <c:pt idx="2076">
                  <c:v>307.90699999999998</c:v>
                </c:pt>
                <c:pt idx="2077">
                  <c:v>306.86700000000002</c:v>
                </c:pt>
                <c:pt idx="2078">
                  <c:v>439.04</c:v>
                </c:pt>
                <c:pt idx="2079">
                  <c:v>468.30399999999997</c:v>
                </c:pt>
                <c:pt idx="2080">
                  <c:v>456.47399999999999</c:v>
                </c:pt>
                <c:pt idx="2081">
                  <c:v>463.16</c:v>
                </c:pt>
                <c:pt idx="2082">
                  <c:v>465.2</c:v>
                </c:pt>
                <c:pt idx="2083">
                  <c:v>470.24400000000003</c:v>
                </c:pt>
                <c:pt idx="2084">
                  <c:v>482.32299999999998</c:v>
                </c:pt>
                <c:pt idx="2085">
                  <c:v>474.52300000000002</c:v>
                </c:pt>
                <c:pt idx="2086">
                  <c:v>459</c:v>
                </c:pt>
                <c:pt idx="2087">
                  <c:v>457.52</c:v>
                </c:pt>
                <c:pt idx="2088">
                  <c:v>449.18200000000002</c:v>
                </c:pt>
                <c:pt idx="2089">
                  <c:v>435.43900000000002</c:v>
                </c:pt>
                <c:pt idx="2090">
                  <c:v>440.11700000000002</c:v>
                </c:pt>
                <c:pt idx="2091">
                  <c:v>438.73899999999998</c:v>
                </c:pt>
                <c:pt idx="2092">
                  <c:v>443.58300000000003</c:v>
                </c:pt>
                <c:pt idx="2093">
                  <c:v>443.25400000000002</c:v>
                </c:pt>
                <c:pt idx="2094">
                  <c:v>442.08600000000001</c:v>
                </c:pt>
                <c:pt idx="2095">
                  <c:v>426.03</c:v>
                </c:pt>
                <c:pt idx="2096">
                  <c:v>411.32600000000002</c:v>
                </c:pt>
                <c:pt idx="2097">
                  <c:v>400.91199999999998</c:v>
                </c:pt>
                <c:pt idx="2098">
                  <c:v>396.88</c:v>
                </c:pt>
                <c:pt idx="2099">
                  <c:v>409.16399999999999</c:v>
                </c:pt>
                <c:pt idx="2100">
                  <c:v>408.798</c:v>
                </c:pt>
                <c:pt idx="2101">
                  <c:v>418.452</c:v>
                </c:pt>
                <c:pt idx="2102">
                  <c:v>424.34300000000002</c:v>
                </c:pt>
                <c:pt idx="2103">
                  <c:v>428.91399999999999</c:v>
                </c:pt>
                <c:pt idx="2104">
                  <c:v>424.65499999999997</c:v>
                </c:pt>
                <c:pt idx="2105">
                  <c:v>426.02600000000001</c:v>
                </c:pt>
                <c:pt idx="2106">
                  <c:v>418.005</c:v>
                </c:pt>
                <c:pt idx="2107">
                  <c:v>417.899</c:v>
                </c:pt>
                <c:pt idx="2108">
                  <c:v>418.56200000000001</c:v>
                </c:pt>
                <c:pt idx="2109">
                  <c:v>421.06</c:v>
                </c:pt>
                <c:pt idx="2110">
                  <c:v>414.41899999999998</c:v>
                </c:pt>
                <c:pt idx="2111">
                  <c:v>408.31599999999997</c:v>
                </c:pt>
                <c:pt idx="2112">
                  <c:v>393.81</c:v>
                </c:pt>
                <c:pt idx="2113">
                  <c:v>388.53100000000001</c:v>
                </c:pt>
                <c:pt idx="2114">
                  <c:v>397.18099999999998</c:v>
                </c:pt>
                <c:pt idx="2115">
                  <c:v>410.34500000000003</c:v>
                </c:pt>
                <c:pt idx="2116">
                  <c:v>411.43700000000001</c:v>
                </c:pt>
                <c:pt idx="2117">
                  <c:v>403.7</c:v>
                </c:pt>
                <c:pt idx="2118">
                  <c:v>399.262</c:v>
                </c:pt>
                <c:pt idx="2119">
                  <c:v>397.803</c:v>
                </c:pt>
                <c:pt idx="2120">
                  <c:v>408.32900000000001</c:v>
                </c:pt>
                <c:pt idx="2121">
                  <c:v>402.04199999999997</c:v>
                </c:pt>
                <c:pt idx="2122">
                  <c:v>399.84500000000003</c:v>
                </c:pt>
                <c:pt idx="2123">
                  <c:v>397.84699999999998</c:v>
                </c:pt>
                <c:pt idx="2124">
                  <c:v>402.86200000000002</c:v>
                </c:pt>
                <c:pt idx="2125">
                  <c:v>403.07799999999997</c:v>
                </c:pt>
                <c:pt idx="2126">
                  <c:v>401.09699999999998</c:v>
                </c:pt>
                <c:pt idx="2127">
                  <c:v>409.721</c:v>
                </c:pt>
                <c:pt idx="2128">
                  <c:v>410.21499999999997</c:v>
                </c:pt>
                <c:pt idx="2129">
                  <c:v>402.52800000000002</c:v>
                </c:pt>
                <c:pt idx="2130">
                  <c:v>404.33</c:v>
                </c:pt>
                <c:pt idx="2131">
                  <c:v>410.32100000000003</c:v>
                </c:pt>
                <c:pt idx="2132">
                  <c:v>404.21199999999999</c:v>
                </c:pt>
                <c:pt idx="2133">
                  <c:v>399.589</c:v>
                </c:pt>
                <c:pt idx="2134">
                  <c:v>393.80900000000003</c:v>
                </c:pt>
                <c:pt idx="2135">
                  <c:v>383.32900000000001</c:v>
                </c:pt>
                <c:pt idx="2136">
                  <c:v>371.94799999999998</c:v>
                </c:pt>
                <c:pt idx="2137">
                  <c:v>371.06700000000001</c:v>
                </c:pt>
                <c:pt idx="2138">
                  <c:v>376.17</c:v>
                </c:pt>
                <c:pt idx="2139">
                  <c:v>385.81799999999998</c:v>
                </c:pt>
                <c:pt idx="2140">
                  <c:v>383.30200000000002</c:v>
                </c:pt>
                <c:pt idx="2141">
                  <c:v>389.74799999999999</c:v>
                </c:pt>
                <c:pt idx="2142">
                  <c:v>389.86599999999999</c:v>
                </c:pt>
                <c:pt idx="2143">
                  <c:v>389.06799999999998</c:v>
                </c:pt>
                <c:pt idx="2144">
                  <c:v>385.49799999999999</c:v>
                </c:pt>
                <c:pt idx="2145">
                  <c:v>381.61799999999999</c:v>
                </c:pt>
                <c:pt idx="2146">
                  <c:v>381.274</c:v>
                </c:pt>
                <c:pt idx="2147">
                  <c:v>380.286</c:v>
                </c:pt>
                <c:pt idx="2148">
                  <c:v>380.40699999999998</c:v>
                </c:pt>
                <c:pt idx="2149">
                  <c:v>382.94499999999999</c:v>
                </c:pt>
                <c:pt idx="2150">
                  <c:v>383.82299999999998</c:v>
                </c:pt>
                <c:pt idx="2151">
                  <c:v>385.33300000000003</c:v>
                </c:pt>
                <c:pt idx="2152">
                  <c:v>385.61599999999999</c:v>
                </c:pt>
                <c:pt idx="2153">
                  <c:v>385.64499999999998</c:v>
                </c:pt>
                <c:pt idx="2154">
                  <c:v>390.95400000000001</c:v>
                </c:pt>
                <c:pt idx="2155">
                  <c:v>390.43299999999999</c:v>
                </c:pt>
                <c:pt idx="2156">
                  <c:v>394.55500000000001</c:v>
                </c:pt>
                <c:pt idx="2157">
                  <c:v>389.233</c:v>
                </c:pt>
                <c:pt idx="2158">
                  <c:v>390.37400000000002</c:v>
                </c:pt>
                <c:pt idx="2159">
                  <c:v>389.66500000000002</c:v>
                </c:pt>
                <c:pt idx="2160">
                  <c:v>387.85399999999998</c:v>
                </c:pt>
                <c:pt idx="2161">
                  <c:v>383.74200000000002</c:v>
                </c:pt>
                <c:pt idx="2162">
                  <c:v>380.33800000000002</c:v>
                </c:pt>
                <c:pt idx="2163">
                  <c:v>389.70800000000003</c:v>
                </c:pt>
                <c:pt idx="2164">
                  <c:v>386.71199999999999</c:v>
                </c:pt>
                <c:pt idx="2165">
                  <c:v>380.90199999999999</c:v>
                </c:pt>
                <c:pt idx="2166">
                  <c:v>384.221</c:v>
                </c:pt>
                <c:pt idx="2167">
                  <c:v>383.97800000000001</c:v>
                </c:pt>
                <c:pt idx="2168">
                  <c:v>384.02600000000001</c:v>
                </c:pt>
                <c:pt idx="2169">
                  <c:v>389.71800000000002</c:v>
                </c:pt>
                <c:pt idx="2170">
                  <c:v>388.80700000000002</c:v>
                </c:pt>
                <c:pt idx="2171">
                  <c:v>380.17599999999999</c:v>
                </c:pt>
                <c:pt idx="2172">
                  <c:v>383.83100000000002</c:v>
                </c:pt>
                <c:pt idx="2173">
                  <c:v>379.06900000000002</c:v>
                </c:pt>
                <c:pt idx="2174">
                  <c:v>383.64600000000002</c:v>
                </c:pt>
                <c:pt idx="2175">
                  <c:v>384.09699999999998</c:v>
                </c:pt>
                <c:pt idx="2176">
                  <c:v>387.76299999999998</c:v>
                </c:pt>
                <c:pt idx="2177">
                  <c:v>394.42399999999998</c:v>
                </c:pt>
                <c:pt idx="2178">
                  <c:v>397.54</c:v>
                </c:pt>
                <c:pt idx="2179">
                  <c:v>394.88600000000002</c:v>
                </c:pt>
                <c:pt idx="2180">
                  <c:v>398.04199999999997</c:v>
                </c:pt>
                <c:pt idx="2181">
                  <c:v>388.30099999999999</c:v>
                </c:pt>
                <c:pt idx="2182">
                  <c:v>383.625</c:v>
                </c:pt>
                <c:pt idx="2183">
                  <c:v>384.38</c:v>
                </c:pt>
                <c:pt idx="2184">
                  <c:v>383.767</c:v>
                </c:pt>
                <c:pt idx="2185">
                  <c:v>386.59100000000001</c:v>
                </c:pt>
                <c:pt idx="2186">
                  <c:v>390.69</c:v>
                </c:pt>
                <c:pt idx="2187">
                  <c:v>388.65100000000001</c:v>
                </c:pt>
                <c:pt idx="2188">
                  <c:v>383.34399999999999</c:v>
                </c:pt>
                <c:pt idx="2189">
                  <c:v>377.20100000000002</c:v>
                </c:pt>
                <c:pt idx="2190">
                  <c:v>373.95699999999999</c:v>
                </c:pt>
                <c:pt idx="2191">
                  <c:v>373.81400000000002</c:v>
                </c:pt>
                <c:pt idx="2192">
                  <c:v>368.31700000000001</c:v>
                </c:pt>
                <c:pt idx="2193">
                  <c:v>368.57600000000002</c:v>
                </c:pt>
                <c:pt idx="2194">
                  <c:v>366.41199999999998</c:v>
                </c:pt>
                <c:pt idx="2195">
                  <c:v>366.08100000000002</c:v>
                </c:pt>
                <c:pt idx="2196">
                  <c:v>367.452</c:v>
                </c:pt>
                <c:pt idx="2197">
                  <c:v>366.26400000000001</c:v>
                </c:pt>
                <c:pt idx="2198">
                  <c:v>365.911</c:v>
                </c:pt>
                <c:pt idx="2199">
                  <c:v>366.05700000000002</c:v>
                </c:pt>
                <c:pt idx="2200">
                  <c:v>366.61599999999999</c:v>
                </c:pt>
                <c:pt idx="2201">
                  <c:v>367.01299999999998</c:v>
                </c:pt>
                <c:pt idx="2202">
                  <c:v>364.41300000000001</c:v>
                </c:pt>
                <c:pt idx="2203">
                  <c:v>369.77800000000002</c:v>
                </c:pt>
                <c:pt idx="2204">
                  <c:v>373.42700000000002</c:v>
                </c:pt>
                <c:pt idx="2205">
                  <c:v>374.21100000000001</c:v>
                </c:pt>
                <c:pt idx="2206">
                  <c:v>379.31200000000001</c:v>
                </c:pt>
                <c:pt idx="2207">
                  <c:v>388.15499999999997</c:v>
                </c:pt>
                <c:pt idx="2208">
                  <c:v>402.755</c:v>
                </c:pt>
                <c:pt idx="2209">
                  <c:v>397.61700000000002</c:v>
                </c:pt>
                <c:pt idx="2210">
                  <c:v>398.2</c:v>
                </c:pt>
                <c:pt idx="2211">
                  <c:v>412.36599999999999</c:v>
                </c:pt>
                <c:pt idx="2212">
                  <c:v>421.08600000000001</c:v>
                </c:pt>
                <c:pt idx="2213">
                  <c:v>432.64499999999998</c:v>
                </c:pt>
                <c:pt idx="2214">
                  <c:v>436.834</c:v>
                </c:pt>
                <c:pt idx="2215">
                  <c:v>428.17500000000001</c:v>
                </c:pt>
                <c:pt idx="2216">
                  <c:v>434.10399999999998</c:v>
                </c:pt>
                <c:pt idx="2217">
                  <c:v>433.642</c:v>
                </c:pt>
                <c:pt idx="2218">
                  <c:v>437.77199999999999</c:v>
                </c:pt>
                <c:pt idx="2219">
                  <c:v>436.66699999999997</c:v>
                </c:pt>
                <c:pt idx="2220">
                  <c:v>440.35500000000002</c:v>
                </c:pt>
                <c:pt idx="2221">
                  <c:v>429.029</c:v>
                </c:pt>
                <c:pt idx="2222">
                  <c:v>437.19099999999997</c:v>
                </c:pt>
                <c:pt idx="2223">
                  <c:v>443.23500000000001</c:v>
                </c:pt>
                <c:pt idx="2224">
                  <c:v>443.50299999999999</c:v>
                </c:pt>
                <c:pt idx="2225">
                  <c:v>442.2</c:v>
                </c:pt>
                <c:pt idx="2226">
                  <c:v>446.89100000000002</c:v>
                </c:pt>
                <c:pt idx="2227">
                  <c:v>448.53399999999999</c:v>
                </c:pt>
                <c:pt idx="2228">
                  <c:v>453.346</c:v>
                </c:pt>
                <c:pt idx="2229">
                  <c:v>447.28300000000002</c:v>
                </c:pt>
                <c:pt idx="2230">
                  <c:v>440.68799999999999</c:v>
                </c:pt>
                <c:pt idx="2231">
                  <c:v>455.82900000000001</c:v>
                </c:pt>
                <c:pt idx="2232">
                  <c:v>463.238</c:v>
                </c:pt>
                <c:pt idx="2233">
                  <c:v>460.73200000000003</c:v>
                </c:pt>
                <c:pt idx="2234">
                  <c:v>444.75099999999998</c:v>
                </c:pt>
                <c:pt idx="2235">
                  <c:v>441.89400000000001</c:v>
                </c:pt>
                <c:pt idx="2236">
                  <c:v>447.428</c:v>
                </c:pt>
                <c:pt idx="2237">
                  <c:v>450.25900000000001</c:v>
                </c:pt>
                <c:pt idx="2238">
                  <c:v>443.15600000000001</c:v>
                </c:pt>
                <c:pt idx="2239">
                  <c:v>434.6</c:v>
                </c:pt>
                <c:pt idx="2240">
                  <c:v>424.47899999999998</c:v>
                </c:pt>
                <c:pt idx="2241">
                  <c:v>412.40800000000002</c:v>
                </c:pt>
                <c:pt idx="2242">
                  <c:v>401.08199999999999</c:v>
                </c:pt>
                <c:pt idx="2243">
                  <c:v>394.01799999999997</c:v>
                </c:pt>
                <c:pt idx="2244">
                  <c:v>400.39699999999999</c:v>
                </c:pt>
                <c:pt idx="2245">
                  <c:v>408.14499999999998</c:v>
                </c:pt>
                <c:pt idx="2246">
                  <c:v>412.25700000000001</c:v>
                </c:pt>
                <c:pt idx="2247">
                  <c:v>407.74599999999998</c:v>
                </c:pt>
                <c:pt idx="2248">
                  <c:v>407.74099999999999</c:v>
                </c:pt>
                <c:pt idx="2249">
                  <c:v>416.34500000000003</c:v>
                </c:pt>
                <c:pt idx="2250">
                  <c:v>428.05500000000001</c:v>
                </c:pt>
                <c:pt idx="2251">
                  <c:v>449.72</c:v>
                </c:pt>
                <c:pt idx="2252">
                  <c:v>445.54500000000002</c:v>
                </c:pt>
                <c:pt idx="2253">
                  <c:v>446.6</c:v>
                </c:pt>
                <c:pt idx="2254">
                  <c:v>489.30099999999999</c:v>
                </c:pt>
                <c:pt idx="2255">
                  <c:v>477.55599999999998</c:v>
                </c:pt>
                <c:pt idx="2256">
                  <c:v>475.88200000000001</c:v>
                </c:pt>
                <c:pt idx="2257">
                  <c:v>504.27199999999999</c:v>
                </c:pt>
                <c:pt idx="2258">
                  <c:v>504.72699999999998</c:v>
                </c:pt>
                <c:pt idx="2259">
                  <c:v>509.44200000000001</c:v>
                </c:pt>
                <c:pt idx="2260">
                  <c:v>530.654</c:v>
                </c:pt>
                <c:pt idx="2261">
                  <c:v>536.38300000000004</c:v>
                </c:pt>
                <c:pt idx="2262">
                  <c:v>543.30999999999995</c:v>
                </c:pt>
                <c:pt idx="2263">
                  <c:v>537.00300000000004</c:v>
                </c:pt>
                <c:pt idx="2264">
                  <c:v>497.459</c:v>
                </c:pt>
                <c:pt idx="2265">
                  <c:v>484.81900000000002</c:v>
                </c:pt>
                <c:pt idx="2266">
                  <c:v>489.38499999999999</c:v>
                </c:pt>
                <c:pt idx="2267">
                  <c:v>500.01299999999998</c:v>
                </c:pt>
                <c:pt idx="2268">
                  <c:v>517.68499999999995</c:v>
                </c:pt>
                <c:pt idx="2269">
                  <c:v>523.92600000000004</c:v>
                </c:pt>
                <c:pt idx="2270">
                  <c:v>524.91099999999994</c:v>
                </c:pt>
                <c:pt idx="2271">
                  <c:v>527.27</c:v>
                </c:pt>
                <c:pt idx="2272">
                  <c:v>581.25</c:v>
                </c:pt>
                <c:pt idx="2273">
                  <c:v>623.59199999999998</c:v>
                </c:pt>
                <c:pt idx="2274">
                  <c:v>603.42899999999997</c:v>
                </c:pt>
                <c:pt idx="2275">
                  <c:v>594.70799999999997</c:v>
                </c:pt>
                <c:pt idx="2276">
                  <c:v>556.11099999999999</c:v>
                </c:pt>
                <c:pt idx="2277">
                  <c:v>556.95299999999997</c:v>
                </c:pt>
                <c:pt idx="2278">
                  <c:v>557.79499999999996</c:v>
                </c:pt>
                <c:pt idx="2279">
                  <c:v>557.80399999999997</c:v>
                </c:pt>
                <c:pt idx="2280">
                  <c:v>562.63300000000004</c:v>
                </c:pt>
                <c:pt idx="2281">
                  <c:v>564.93399999999997</c:v>
                </c:pt>
                <c:pt idx="2282">
                  <c:v>563.92200000000003</c:v>
                </c:pt>
                <c:pt idx="2283">
                  <c:v>564.25099999999998</c:v>
                </c:pt>
                <c:pt idx="2284">
                  <c:v>551.38199999999995</c:v>
                </c:pt>
                <c:pt idx="2285">
                  <c:v>559.48</c:v>
                </c:pt>
                <c:pt idx="2286">
                  <c:v>571.65300000000002</c:v>
                </c:pt>
                <c:pt idx="2287">
                  <c:v>574.04600000000005</c:v>
                </c:pt>
                <c:pt idx="2288">
                  <c:v>581.26900000000001</c:v>
                </c:pt>
                <c:pt idx="2289">
                  <c:v>573.07600000000002</c:v>
                </c:pt>
                <c:pt idx="2290">
                  <c:v>556.84500000000003</c:v>
                </c:pt>
                <c:pt idx="2291">
                  <c:v>545.18799999999999</c:v>
                </c:pt>
                <c:pt idx="2292">
                  <c:v>557.60500000000002</c:v>
                </c:pt>
                <c:pt idx="2293">
                  <c:v>559.803</c:v>
                </c:pt>
                <c:pt idx="2294">
                  <c:v>556.37800000000004</c:v>
                </c:pt>
                <c:pt idx="2295">
                  <c:v>543.56600000000003</c:v>
                </c:pt>
                <c:pt idx="2296">
                  <c:v>523.779</c:v>
                </c:pt>
                <c:pt idx="2297">
                  <c:v>526.66399999999999</c:v>
                </c:pt>
                <c:pt idx="2298">
                  <c:v>540.88</c:v>
                </c:pt>
                <c:pt idx="2299">
                  <c:v>537.67600000000004</c:v>
                </c:pt>
                <c:pt idx="2300">
                  <c:v>520.53200000000004</c:v>
                </c:pt>
                <c:pt idx="2301">
                  <c:v>523.52800000000002</c:v>
                </c:pt>
                <c:pt idx="2302">
                  <c:v>536.54200000000003</c:v>
                </c:pt>
                <c:pt idx="2303">
                  <c:v>535.13699999999994</c:v>
                </c:pt>
                <c:pt idx="2304">
                  <c:v>534.60199999999998</c:v>
                </c:pt>
                <c:pt idx="2305">
                  <c:v>529.91399999999999</c:v>
                </c:pt>
                <c:pt idx="2306">
                  <c:v>537.28399999999999</c:v>
                </c:pt>
                <c:pt idx="2307">
                  <c:v>545.60900000000004</c:v>
                </c:pt>
                <c:pt idx="2308">
                  <c:v>545.44100000000003</c:v>
                </c:pt>
                <c:pt idx="2309">
                  <c:v>538.12099999999998</c:v>
                </c:pt>
                <c:pt idx="2310">
                  <c:v>526.39800000000002</c:v>
                </c:pt>
                <c:pt idx="2311">
                  <c:v>508.50900000000001</c:v>
                </c:pt>
                <c:pt idx="2312">
                  <c:v>511.49599999999998</c:v>
                </c:pt>
                <c:pt idx="2313">
                  <c:v>525.56899999999996</c:v>
                </c:pt>
                <c:pt idx="2314">
                  <c:v>518.88599999999997</c:v>
                </c:pt>
                <c:pt idx="2315">
                  <c:v>523.62</c:v>
                </c:pt>
                <c:pt idx="2316">
                  <c:v>531.303</c:v>
                </c:pt>
                <c:pt idx="2317">
                  <c:v>535.55999999999995</c:v>
                </c:pt>
                <c:pt idx="2318">
                  <c:v>543.24199999999996</c:v>
                </c:pt>
                <c:pt idx="2319">
                  <c:v>545.72900000000004</c:v>
                </c:pt>
                <c:pt idx="2320">
                  <c:v>562.36099999999999</c:v>
                </c:pt>
                <c:pt idx="2321">
                  <c:v>603.745</c:v>
                </c:pt>
                <c:pt idx="2322">
                  <c:v>573.46400000000006</c:v>
                </c:pt>
                <c:pt idx="2323">
                  <c:v>582.73199999999997</c:v>
                </c:pt>
                <c:pt idx="2324">
                  <c:v>593.61800000000005</c:v>
                </c:pt>
                <c:pt idx="2325">
                  <c:v>599.24699999999996</c:v>
                </c:pt>
                <c:pt idx="2326">
                  <c:v>621.59500000000003</c:v>
                </c:pt>
                <c:pt idx="2327">
                  <c:v>660.84900000000005</c:v>
                </c:pt>
                <c:pt idx="2328">
                  <c:v>705.74400000000003</c:v>
                </c:pt>
                <c:pt idx="2329">
                  <c:v>686.90200000000004</c:v>
                </c:pt>
                <c:pt idx="2330">
                  <c:v>654.39499999999998</c:v>
                </c:pt>
                <c:pt idx="2331">
                  <c:v>676.12699999999995</c:v>
                </c:pt>
                <c:pt idx="2332">
                  <c:v>666.02499999999998</c:v>
                </c:pt>
                <c:pt idx="2333">
                  <c:v>649.73500000000001</c:v>
                </c:pt>
                <c:pt idx="2334">
                  <c:v>620.34400000000005</c:v>
                </c:pt>
                <c:pt idx="2335">
                  <c:v>566.78</c:v>
                </c:pt>
                <c:pt idx="2336">
                  <c:v>583.56299999999999</c:v>
                </c:pt>
                <c:pt idx="2337">
                  <c:v>584.78499999999997</c:v>
                </c:pt>
                <c:pt idx="2338">
                  <c:v>586.51300000000003</c:v>
                </c:pt>
                <c:pt idx="2339">
                  <c:v>584.66700000000003</c:v>
                </c:pt>
                <c:pt idx="2340">
                  <c:v>592.30200000000002</c:v>
                </c:pt>
                <c:pt idx="2341">
                  <c:v>598.37699999999995</c:v>
                </c:pt>
                <c:pt idx="2342">
                  <c:v>590.702</c:v>
                </c:pt>
                <c:pt idx="2343">
                  <c:v>583.327</c:v>
                </c:pt>
                <c:pt idx="2344">
                  <c:v>544.34400000000005</c:v>
                </c:pt>
                <c:pt idx="2345">
                  <c:v>553.67399999999998</c:v>
                </c:pt>
                <c:pt idx="2346">
                  <c:v>552.53899999999999</c:v>
                </c:pt>
                <c:pt idx="2347">
                  <c:v>553.15700000000004</c:v>
                </c:pt>
                <c:pt idx="2348">
                  <c:v>554.29300000000001</c:v>
                </c:pt>
                <c:pt idx="2349">
                  <c:v>564.26199999999994</c:v>
                </c:pt>
                <c:pt idx="2350">
                  <c:v>589.36199999999997</c:v>
                </c:pt>
                <c:pt idx="2351">
                  <c:v>591.74099999999999</c:v>
                </c:pt>
                <c:pt idx="2352">
                  <c:v>592.09199999999998</c:v>
                </c:pt>
                <c:pt idx="2353">
                  <c:v>598.90300000000002</c:v>
                </c:pt>
                <c:pt idx="2354">
                  <c:v>597.29600000000005</c:v>
                </c:pt>
                <c:pt idx="2355">
                  <c:v>586.76499999999999</c:v>
                </c:pt>
                <c:pt idx="2356">
                  <c:v>589.5</c:v>
                </c:pt>
                <c:pt idx="2357">
                  <c:v>588.86400000000003</c:v>
                </c:pt>
                <c:pt idx="2358">
                  <c:v>588.70000000000005</c:v>
                </c:pt>
                <c:pt idx="2359">
                  <c:v>604.47699999999998</c:v>
                </c:pt>
                <c:pt idx="2360">
                  <c:v>586.51</c:v>
                </c:pt>
                <c:pt idx="2361">
                  <c:v>582.71600000000001</c:v>
                </c:pt>
                <c:pt idx="2362">
                  <c:v>590.37599999999998</c:v>
                </c:pt>
                <c:pt idx="2363">
                  <c:v>603.67100000000005</c:v>
                </c:pt>
                <c:pt idx="2364">
                  <c:v>603.84699999999998</c:v>
                </c:pt>
                <c:pt idx="2365">
                  <c:v>606.82000000000005</c:v>
                </c:pt>
                <c:pt idx="2366">
                  <c:v>606.62199999999996</c:v>
                </c:pt>
                <c:pt idx="2367">
                  <c:v>617.62699999999995</c:v>
                </c:pt>
                <c:pt idx="2368">
                  <c:v>616.81500000000005</c:v>
                </c:pt>
                <c:pt idx="2369">
                  <c:v>621.82600000000002</c:v>
                </c:pt>
                <c:pt idx="2370">
                  <c:v>626.56100000000004</c:v>
                </c:pt>
                <c:pt idx="2371">
                  <c:v>638.38499999999999</c:v>
                </c:pt>
                <c:pt idx="2372">
                  <c:v>664.40099999999995</c:v>
                </c:pt>
                <c:pt idx="2373">
                  <c:v>686.90099999999995</c:v>
                </c:pt>
                <c:pt idx="2374">
                  <c:v>696.22799999999995</c:v>
                </c:pt>
                <c:pt idx="2375">
                  <c:v>687.76800000000003</c:v>
                </c:pt>
                <c:pt idx="2376">
                  <c:v>702.36199999999997</c:v>
                </c:pt>
                <c:pt idx="2377">
                  <c:v>710.23199999999997</c:v>
                </c:pt>
                <c:pt idx="2378">
                  <c:v>711.26199999999994</c:v>
                </c:pt>
                <c:pt idx="2379">
                  <c:v>705.54600000000005</c:v>
                </c:pt>
                <c:pt idx="2380">
                  <c:v>715.03</c:v>
                </c:pt>
                <c:pt idx="2381">
                  <c:v>724.91300000000001</c:v>
                </c:pt>
                <c:pt idx="2382">
                  <c:v>719.18299999999999</c:v>
                </c:pt>
                <c:pt idx="2383">
                  <c:v>704.25199999999995</c:v>
                </c:pt>
                <c:pt idx="2384">
                  <c:v>730.53</c:v>
                </c:pt>
                <c:pt idx="2385">
                  <c:v>731.42</c:v>
                </c:pt>
                <c:pt idx="2386">
                  <c:v>715.62199999999996</c:v>
                </c:pt>
                <c:pt idx="2387">
                  <c:v>708.34500000000003</c:v>
                </c:pt>
                <c:pt idx="2388">
                  <c:v>703.61699999999996</c:v>
                </c:pt>
                <c:pt idx="2389">
                  <c:v>713.75599999999997</c:v>
                </c:pt>
                <c:pt idx="2390">
                  <c:v>714.00599999999997</c:v>
                </c:pt>
                <c:pt idx="2391">
                  <c:v>713.62</c:v>
                </c:pt>
                <c:pt idx="2392">
                  <c:v>713.60500000000002</c:v>
                </c:pt>
                <c:pt idx="2393">
                  <c:v>721.43499999999995</c:v>
                </c:pt>
                <c:pt idx="2394">
                  <c:v>735.89300000000003</c:v>
                </c:pt>
                <c:pt idx="2395">
                  <c:v>769.53800000000001</c:v>
                </c:pt>
                <c:pt idx="2396">
                  <c:v>790.76300000000003</c:v>
                </c:pt>
                <c:pt idx="2397">
                  <c:v>826.745</c:v>
                </c:pt>
                <c:pt idx="2398">
                  <c:v>854.60400000000004</c:v>
                </c:pt>
                <c:pt idx="2399">
                  <c:v>832.85599999999999</c:v>
                </c:pt>
                <c:pt idx="2400">
                  <c:v>807.53200000000004</c:v>
                </c:pt>
                <c:pt idx="2401">
                  <c:v>842.67600000000004</c:v>
                </c:pt>
                <c:pt idx="2402">
                  <c:v>826.39800000000002</c:v>
                </c:pt>
                <c:pt idx="2403">
                  <c:v>824.73199999999997</c:v>
                </c:pt>
                <c:pt idx="2404">
                  <c:v>803.75199999999995</c:v>
                </c:pt>
                <c:pt idx="2405">
                  <c:v>803.57600000000002</c:v>
                </c:pt>
                <c:pt idx="2406">
                  <c:v>797.721</c:v>
                </c:pt>
                <c:pt idx="2407">
                  <c:v>784.57500000000005</c:v>
                </c:pt>
                <c:pt idx="2408">
                  <c:v>771.76900000000001</c:v>
                </c:pt>
                <c:pt idx="2409">
                  <c:v>806.84699999999998</c:v>
                </c:pt>
                <c:pt idx="2410">
                  <c:v>833.553</c:v>
                </c:pt>
                <c:pt idx="2411">
                  <c:v>844.27499999999998</c:v>
                </c:pt>
                <c:pt idx="2412">
                  <c:v>831.21100000000001</c:v>
                </c:pt>
                <c:pt idx="2413">
                  <c:v>835.94100000000003</c:v>
                </c:pt>
                <c:pt idx="2414">
                  <c:v>852.40800000000002</c:v>
                </c:pt>
                <c:pt idx="2415">
                  <c:v>854.03700000000003</c:v>
                </c:pt>
                <c:pt idx="2416">
                  <c:v>850.07100000000003</c:v>
                </c:pt>
                <c:pt idx="2417">
                  <c:v>851.01099999999997</c:v>
                </c:pt>
                <c:pt idx="2418">
                  <c:v>866.52300000000002</c:v>
                </c:pt>
                <c:pt idx="2419">
                  <c:v>873.23099999999999</c:v>
                </c:pt>
                <c:pt idx="2420">
                  <c:v>883.88</c:v>
                </c:pt>
                <c:pt idx="2421">
                  <c:v>895.42399999999998</c:v>
                </c:pt>
                <c:pt idx="2422">
                  <c:v>873.31399999999996</c:v>
                </c:pt>
                <c:pt idx="2423">
                  <c:v>856.24</c:v>
                </c:pt>
                <c:pt idx="2424">
                  <c:v>851.69799999999998</c:v>
                </c:pt>
                <c:pt idx="2425">
                  <c:v>830.54</c:v>
                </c:pt>
                <c:pt idx="2426">
                  <c:v>836.08699999999999</c:v>
                </c:pt>
                <c:pt idx="2427">
                  <c:v>849.39</c:v>
                </c:pt>
                <c:pt idx="2428">
                  <c:v>856.82899999999995</c:v>
                </c:pt>
                <c:pt idx="2429">
                  <c:v>887.53099999999995</c:v>
                </c:pt>
                <c:pt idx="2430">
                  <c:v>885.68100000000004</c:v>
                </c:pt>
                <c:pt idx="2431">
                  <c:v>857.11400000000003</c:v>
                </c:pt>
                <c:pt idx="2432">
                  <c:v>816.65700000000004</c:v>
                </c:pt>
                <c:pt idx="2433">
                  <c:v>782.76099999999997</c:v>
                </c:pt>
                <c:pt idx="2434">
                  <c:v>786.40200000000004</c:v>
                </c:pt>
                <c:pt idx="2435">
                  <c:v>762.17499999999995</c:v>
                </c:pt>
                <c:pt idx="2436">
                  <c:v>736.154</c:v>
                </c:pt>
                <c:pt idx="2437">
                  <c:v>735.39200000000005</c:v>
                </c:pt>
                <c:pt idx="2438">
                  <c:v>711.32500000000005</c:v>
                </c:pt>
                <c:pt idx="2439">
                  <c:v>707.90800000000002</c:v>
                </c:pt>
                <c:pt idx="2440">
                  <c:v>675.85699999999997</c:v>
                </c:pt>
                <c:pt idx="2441">
                  <c:v>654.67100000000005</c:v>
                </c:pt>
                <c:pt idx="2442">
                  <c:v>654.21699999999998</c:v>
                </c:pt>
                <c:pt idx="2443">
                  <c:v>677.31399999999996</c:v>
                </c:pt>
                <c:pt idx="2444">
                  <c:v>713.23</c:v>
                </c:pt>
                <c:pt idx="2445">
                  <c:v>737.23599999999999</c:v>
                </c:pt>
                <c:pt idx="2446">
                  <c:v>771.52099999999996</c:v>
                </c:pt>
                <c:pt idx="2447">
                  <c:v>793.51900000000001</c:v>
                </c:pt>
                <c:pt idx="2448">
                  <c:v>820.96799999999996</c:v>
                </c:pt>
                <c:pt idx="2449">
                  <c:v>783.125</c:v>
                </c:pt>
                <c:pt idx="2450">
                  <c:v>741.59</c:v>
                </c:pt>
                <c:pt idx="2451">
                  <c:v>727.923</c:v>
                </c:pt>
                <c:pt idx="2452">
                  <c:v>747.21600000000001</c:v>
                </c:pt>
                <c:pt idx="2453">
                  <c:v>746.41099999999994</c:v>
                </c:pt>
                <c:pt idx="2454">
                  <c:v>771.83399999999995</c:v>
                </c:pt>
                <c:pt idx="2455">
                  <c:v>776.53499999999997</c:v>
                </c:pt>
                <c:pt idx="2456">
                  <c:v>786.65300000000002</c:v>
                </c:pt>
                <c:pt idx="2457">
                  <c:v>748.23900000000003</c:v>
                </c:pt>
                <c:pt idx="2458">
                  <c:v>760.55100000000004</c:v>
                </c:pt>
                <c:pt idx="2459">
                  <c:v>753.94899999999996</c:v>
                </c:pt>
                <c:pt idx="2460">
                  <c:v>746.33100000000002</c:v>
                </c:pt>
                <c:pt idx="2461">
                  <c:v>717.74300000000005</c:v>
                </c:pt>
                <c:pt idx="2462">
                  <c:v>679.88</c:v>
                </c:pt>
                <c:pt idx="2463">
                  <c:v>673.52099999999996</c:v>
                </c:pt>
                <c:pt idx="2464">
                  <c:v>707.995</c:v>
                </c:pt>
                <c:pt idx="2465">
                  <c:v>704.45899999999995</c:v>
                </c:pt>
                <c:pt idx="2466">
                  <c:v>729.74699999999996</c:v>
                </c:pt>
                <c:pt idx="2467">
                  <c:v>745.74699999999996</c:v>
                </c:pt>
                <c:pt idx="2468">
                  <c:v>748.25699999999995</c:v>
                </c:pt>
                <c:pt idx="2469">
                  <c:v>751.32500000000005</c:v>
                </c:pt>
                <c:pt idx="2470">
                  <c:v>732.601</c:v>
                </c:pt>
                <c:pt idx="2471">
                  <c:v>751.68700000000001</c:v>
                </c:pt>
                <c:pt idx="2472">
                  <c:v>779.82600000000002</c:v>
                </c:pt>
                <c:pt idx="2473">
                  <c:v>789.1</c:v>
                </c:pt>
                <c:pt idx="2474">
                  <c:v>803.39800000000002</c:v>
                </c:pt>
                <c:pt idx="2475">
                  <c:v>781.28599999999994</c:v>
                </c:pt>
                <c:pt idx="2476">
                  <c:v>794.16600000000005</c:v>
                </c:pt>
                <c:pt idx="2477">
                  <c:v>782.68700000000001</c:v>
                </c:pt>
                <c:pt idx="2478">
                  <c:v>772.25</c:v>
                </c:pt>
                <c:pt idx="2479">
                  <c:v>749.08799999999997</c:v>
                </c:pt>
                <c:pt idx="2480">
                  <c:v>766.03300000000002</c:v>
                </c:pt>
                <c:pt idx="2481">
                  <c:v>766.4</c:v>
                </c:pt>
                <c:pt idx="2482">
                  <c:v>772.00599999999997</c:v>
                </c:pt>
                <c:pt idx="2483">
                  <c:v>776.60599999999999</c:v>
                </c:pt>
                <c:pt idx="2484">
                  <c:v>771.21400000000006</c:v>
                </c:pt>
                <c:pt idx="2485">
                  <c:v>766.84299999999996</c:v>
                </c:pt>
                <c:pt idx="2486">
                  <c:v>767.88300000000004</c:v>
                </c:pt>
                <c:pt idx="2487">
                  <c:v>770.25699999999995</c:v>
                </c:pt>
                <c:pt idx="2488">
                  <c:v>753.63599999999997</c:v>
                </c:pt>
                <c:pt idx="2489">
                  <c:v>735.53300000000002</c:v>
                </c:pt>
                <c:pt idx="2490">
                  <c:v>736.84</c:v>
                </c:pt>
                <c:pt idx="2491">
                  <c:v>737.21900000000005</c:v>
                </c:pt>
                <c:pt idx="2492">
                  <c:v>737.82</c:v>
                </c:pt>
                <c:pt idx="2493">
                  <c:v>718.85599999999999</c:v>
                </c:pt>
                <c:pt idx="2494">
                  <c:v>687.54700000000003</c:v>
                </c:pt>
                <c:pt idx="2495">
                  <c:v>673.346</c:v>
                </c:pt>
                <c:pt idx="2496">
                  <c:v>671.37300000000005</c:v>
                </c:pt>
                <c:pt idx="2497">
                  <c:v>661.96500000000003</c:v>
                </c:pt>
                <c:pt idx="2498">
                  <c:v>663.32500000000005</c:v>
                </c:pt>
                <c:pt idx="2499">
                  <c:v>658.99599999999998</c:v>
                </c:pt>
                <c:pt idx="2500">
                  <c:v>656.05799999999999</c:v>
                </c:pt>
                <c:pt idx="2501">
                  <c:v>663.81299999999999</c:v>
                </c:pt>
                <c:pt idx="2502">
                  <c:v>635.28099999999995</c:v>
                </c:pt>
                <c:pt idx="2503">
                  <c:v>622.70100000000002</c:v>
                </c:pt>
                <c:pt idx="2504">
                  <c:v>610.14800000000002</c:v>
                </c:pt>
                <c:pt idx="2505">
                  <c:v>623.87300000000005</c:v>
                </c:pt>
                <c:pt idx="2506">
                  <c:v>565.096</c:v>
                </c:pt>
                <c:pt idx="2507">
                  <c:v>556.92700000000002</c:v>
                </c:pt>
                <c:pt idx="2508">
                  <c:v>561.80700000000002</c:v>
                </c:pt>
                <c:pt idx="2509">
                  <c:v>558.03200000000004</c:v>
                </c:pt>
                <c:pt idx="2510">
                  <c:v>570.99400000000003</c:v>
                </c:pt>
                <c:pt idx="2511">
                  <c:v>592.54300000000001</c:v>
                </c:pt>
                <c:pt idx="2512">
                  <c:v>579.87699999999995</c:v>
                </c:pt>
                <c:pt idx="2513">
                  <c:v>585.37400000000002</c:v>
                </c:pt>
                <c:pt idx="2514">
                  <c:v>563.45000000000005</c:v>
                </c:pt>
                <c:pt idx="2515">
                  <c:v>551.89200000000005</c:v>
                </c:pt>
                <c:pt idx="2516">
                  <c:v>538.40099999999995</c:v>
                </c:pt>
                <c:pt idx="2517">
                  <c:v>539.31299999999999</c:v>
                </c:pt>
                <c:pt idx="2518">
                  <c:v>537.73800000000006</c:v>
                </c:pt>
                <c:pt idx="2519">
                  <c:v>532.07600000000002</c:v>
                </c:pt>
                <c:pt idx="2520">
                  <c:v>527.822</c:v>
                </c:pt>
                <c:pt idx="2521">
                  <c:v>511.92099999999999</c:v>
                </c:pt>
                <c:pt idx="2522">
                  <c:v>510.19</c:v>
                </c:pt>
                <c:pt idx="2523">
                  <c:v>520.52599999999995</c:v>
                </c:pt>
                <c:pt idx="2524">
                  <c:v>532.49599999999998</c:v>
                </c:pt>
                <c:pt idx="2525">
                  <c:v>535.81299999999999</c:v>
                </c:pt>
                <c:pt idx="2526">
                  <c:v>531.57600000000002</c:v>
                </c:pt>
                <c:pt idx="2527">
                  <c:v>522.11400000000003</c:v>
                </c:pt>
                <c:pt idx="2528">
                  <c:v>521.25800000000004</c:v>
                </c:pt>
                <c:pt idx="2529">
                  <c:v>495.39400000000001</c:v>
                </c:pt>
                <c:pt idx="2530">
                  <c:v>515.39099999999996</c:v>
                </c:pt>
                <c:pt idx="2531">
                  <c:v>523.63199999999995</c:v>
                </c:pt>
                <c:pt idx="2532">
                  <c:v>537.50099999999998</c:v>
                </c:pt>
                <c:pt idx="2533">
                  <c:v>535.78700000000003</c:v>
                </c:pt>
                <c:pt idx="2534">
                  <c:v>540.18200000000002</c:v>
                </c:pt>
                <c:pt idx="2535">
                  <c:v>520.01199999999994</c:v>
                </c:pt>
                <c:pt idx="2536">
                  <c:v>519.20899999999995</c:v>
                </c:pt>
                <c:pt idx="2537">
                  <c:v>519.66700000000003</c:v>
                </c:pt>
                <c:pt idx="2538">
                  <c:v>520.97500000000002</c:v>
                </c:pt>
                <c:pt idx="2539">
                  <c:v>519.70299999999997</c:v>
                </c:pt>
                <c:pt idx="2540">
                  <c:v>516.88300000000004</c:v>
                </c:pt>
                <c:pt idx="2541">
                  <c:v>512.995</c:v>
                </c:pt>
                <c:pt idx="2542">
                  <c:v>512.26900000000001</c:v>
                </c:pt>
                <c:pt idx="2543">
                  <c:v>512.55399999999997</c:v>
                </c:pt>
                <c:pt idx="2544">
                  <c:v>507.56400000000002</c:v>
                </c:pt>
                <c:pt idx="2545">
                  <c:v>508.87900000000002</c:v>
                </c:pt>
                <c:pt idx="2546">
                  <c:v>529.75800000000004</c:v>
                </c:pt>
                <c:pt idx="2547">
                  <c:v>525.68600000000004</c:v>
                </c:pt>
                <c:pt idx="2548">
                  <c:v>517.73099999999999</c:v>
                </c:pt>
                <c:pt idx="2549">
                  <c:v>539.09500000000003</c:v>
                </c:pt>
                <c:pt idx="2550">
                  <c:v>540.54300000000001</c:v>
                </c:pt>
                <c:pt idx="2551">
                  <c:v>544.74699999999996</c:v>
                </c:pt>
                <c:pt idx="2552">
                  <c:v>554.55499999999995</c:v>
                </c:pt>
                <c:pt idx="2553">
                  <c:v>563.20100000000002</c:v>
                </c:pt>
                <c:pt idx="2554">
                  <c:v>564.82899999999995</c:v>
                </c:pt>
                <c:pt idx="2555">
                  <c:v>556.46</c:v>
                </c:pt>
                <c:pt idx="2556">
                  <c:v>565.58900000000006</c:v>
                </c:pt>
                <c:pt idx="2557">
                  <c:v>560.08600000000001</c:v>
                </c:pt>
                <c:pt idx="2558">
                  <c:v>547.68899999999996</c:v>
                </c:pt>
                <c:pt idx="2559">
                  <c:v>552.31500000000005</c:v>
                </c:pt>
                <c:pt idx="2560">
                  <c:v>557.03300000000002</c:v>
                </c:pt>
                <c:pt idx="2561">
                  <c:v>555.48</c:v>
                </c:pt>
                <c:pt idx="2562">
                  <c:v>554.46600000000001</c:v>
                </c:pt>
                <c:pt idx="2563">
                  <c:v>560.875</c:v>
                </c:pt>
                <c:pt idx="2564">
                  <c:v>550.67600000000004</c:v>
                </c:pt>
                <c:pt idx="2565">
                  <c:v>533.47199999999998</c:v>
                </c:pt>
                <c:pt idx="2566">
                  <c:v>510.55</c:v>
                </c:pt>
                <c:pt idx="2567">
                  <c:v>524.57899999999995</c:v>
                </c:pt>
                <c:pt idx="2568">
                  <c:v>544.91899999999998</c:v>
                </c:pt>
                <c:pt idx="2569">
                  <c:v>543.55499999999995</c:v>
                </c:pt>
                <c:pt idx="2570">
                  <c:v>545.23500000000001</c:v>
                </c:pt>
                <c:pt idx="2571">
                  <c:v>542.38800000000003</c:v>
                </c:pt>
                <c:pt idx="2572">
                  <c:v>554.01099999999997</c:v>
                </c:pt>
                <c:pt idx="2573">
                  <c:v>568.40099999999995</c:v>
                </c:pt>
                <c:pt idx="2574">
                  <c:v>566.11900000000003</c:v>
                </c:pt>
                <c:pt idx="2575">
                  <c:v>566.11300000000006</c:v>
                </c:pt>
                <c:pt idx="2576">
                  <c:v>562.99400000000003</c:v>
                </c:pt>
                <c:pt idx="2577">
                  <c:v>569.81799999999998</c:v>
                </c:pt>
                <c:pt idx="2578">
                  <c:v>571.52599999999995</c:v>
                </c:pt>
                <c:pt idx="2579">
                  <c:v>584.02599999999995</c:v>
                </c:pt>
                <c:pt idx="2580">
                  <c:v>582.49099999999999</c:v>
                </c:pt>
                <c:pt idx="2581">
                  <c:v>571.65</c:v>
                </c:pt>
                <c:pt idx="2582">
                  <c:v>574.76099999999997</c:v>
                </c:pt>
                <c:pt idx="2583">
                  <c:v>567.13699999999994</c:v>
                </c:pt>
                <c:pt idx="2584">
                  <c:v>562.88699999999994</c:v>
                </c:pt>
                <c:pt idx="2585">
                  <c:v>548.49599999999998</c:v>
                </c:pt>
                <c:pt idx="2586">
                  <c:v>553.54700000000003</c:v>
                </c:pt>
                <c:pt idx="2587">
                  <c:v>555.053</c:v>
                </c:pt>
                <c:pt idx="2588">
                  <c:v>523.27300000000002</c:v>
                </c:pt>
                <c:pt idx="2589">
                  <c:v>518.54300000000001</c:v>
                </c:pt>
                <c:pt idx="2590">
                  <c:v>516.346</c:v>
                </c:pt>
                <c:pt idx="2591">
                  <c:v>515.84500000000003</c:v>
                </c:pt>
                <c:pt idx="2592">
                  <c:v>525.38900000000001</c:v>
                </c:pt>
                <c:pt idx="2593">
                  <c:v>537.49900000000002</c:v>
                </c:pt>
                <c:pt idx="2594">
                  <c:v>537.68600000000004</c:v>
                </c:pt>
                <c:pt idx="2595">
                  <c:v>565.827</c:v>
                </c:pt>
                <c:pt idx="2596">
                  <c:v>532.99400000000003</c:v>
                </c:pt>
                <c:pt idx="2597">
                  <c:v>537.93299999999999</c:v>
                </c:pt>
                <c:pt idx="2598">
                  <c:v>551.68100000000004</c:v>
                </c:pt>
                <c:pt idx="2599">
                  <c:v>542.26199999999994</c:v>
                </c:pt>
                <c:pt idx="2600">
                  <c:v>546.89200000000005</c:v>
                </c:pt>
                <c:pt idx="2601">
                  <c:v>539.45299999999997</c:v>
                </c:pt>
                <c:pt idx="2602">
                  <c:v>542.625</c:v>
                </c:pt>
                <c:pt idx="2603">
                  <c:v>535.49199999999996</c:v>
                </c:pt>
                <c:pt idx="2604">
                  <c:v>535.03</c:v>
                </c:pt>
                <c:pt idx="2605">
                  <c:v>526.95699999999999</c:v>
                </c:pt>
                <c:pt idx="2606">
                  <c:v>525.99099999999999</c:v>
                </c:pt>
                <c:pt idx="2607">
                  <c:v>522.34799999999996</c:v>
                </c:pt>
                <c:pt idx="2608">
                  <c:v>524.15300000000002</c:v>
                </c:pt>
                <c:pt idx="2609">
                  <c:v>531.697</c:v>
                </c:pt>
                <c:pt idx="2610">
                  <c:v>549.72500000000002</c:v>
                </c:pt>
                <c:pt idx="2611">
                  <c:v>555.57100000000003</c:v>
                </c:pt>
                <c:pt idx="2612">
                  <c:v>554.81600000000003</c:v>
                </c:pt>
                <c:pt idx="2613">
                  <c:v>554.88400000000001</c:v>
                </c:pt>
                <c:pt idx="2614">
                  <c:v>549.13499999999999</c:v>
                </c:pt>
                <c:pt idx="2615">
                  <c:v>542.65099999999995</c:v>
                </c:pt>
                <c:pt idx="2616">
                  <c:v>531.36</c:v>
                </c:pt>
                <c:pt idx="2617">
                  <c:v>525.26499999999999</c:v>
                </c:pt>
                <c:pt idx="2618">
                  <c:v>527.39300000000003</c:v>
                </c:pt>
                <c:pt idx="2619">
                  <c:v>533.346</c:v>
                </c:pt>
                <c:pt idx="2620">
                  <c:v>544.05799999999999</c:v>
                </c:pt>
                <c:pt idx="2621">
                  <c:v>554.72</c:v>
                </c:pt>
                <c:pt idx="2622">
                  <c:v>554.88599999999997</c:v>
                </c:pt>
                <c:pt idx="2623">
                  <c:v>565.42399999999998</c:v>
                </c:pt>
                <c:pt idx="2624">
                  <c:v>560.76900000000001</c:v>
                </c:pt>
                <c:pt idx="2625">
                  <c:v>551.82100000000003</c:v>
                </c:pt>
                <c:pt idx="2626">
                  <c:v>535.36699999999996</c:v>
                </c:pt>
                <c:pt idx="2627">
                  <c:v>534.60699999999997</c:v>
                </c:pt>
                <c:pt idx="2628">
                  <c:v>534.50099999999998</c:v>
                </c:pt>
                <c:pt idx="2629">
                  <c:v>548.928</c:v>
                </c:pt>
                <c:pt idx="2630">
                  <c:v>548.21199999999999</c:v>
                </c:pt>
                <c:pt idx="2631">
                  <c:v>553.16700000000003</c:v>
                </c:pt>
                <c:pt idx="2632">
                  <c:v>552.10199999999998</c:v>
                </c:pt>
                <c:pt idx="2633">
                  <c:v>551.41600000000005</c:v>
                </c:pt>
                <c:pt idx="2634">
                  <c:v>554.16800000000001</c:v>
                </c:pt>
                <c:pt idx="2635">
                  <c:v>536.79700000000003</c:v>
                </c:pt>
                <c:pt idx="2636">
                  <c:v>480.80900000000003</c:v>
                </c:pt>
                <c:pt idx="2637">
                  <c:v>493.41399999999999</c:v>
                </c:pt>
                <c:pt idx="2638">
                  <c:v>632.70100000000002</c:v>
                </c:pt>
                <c:pt idx="2639">
                  <c:v>654.822</c:v>
                </c:pt>
                <c:pt idx="2640">
                  <c:v>688.79</c:v>
                </c:pt>
                <c:pt idx="2641">
                  <c:v>669.64700000000005</c:v>
                </c:pt>
                <c:pt idx="2642">
                  <c:v>665.43799999999999</c:v>
                </c:pt>
                <c:pt idx="2643">
                  <c:v>702.07399999999996</c:v>
                </c:pt>
                <c:pt idx="2644">
                  <c:v>687.35199999999998</c:v>
                </c:pt>
                <c:pt idx="2645">
                  <c:v>668.26300000000003</c:v>
                </c:pt>
                <c:pt idx="2646">
                  <c:v>673.70399999999995</c:v>
                </c:pt>
                <c:pt idx="2647">
                  <c:v>661.64499999999998</c:v>
                </c:pt>
                <c:pt idx="2648">
                  <c:v>664.07500000000005</c:v>
                </c:pt>
                <c:pt idx="2649">
                  <c:v>614.00599999999997</c:v>
                </c:pt>
                <c:pt idx="2650">
                  <c:v>598.56200000000001</c:v>
                </c:pt>
                <c:pt idx="2651">
                  <c:v>578.20899999999995</c:v>
                </c:pt>
                <c:pt idx="2652">
                  <c:v>551.221</c:v>
                </c:pt>
                <c:pt idx="2653">
                  <c:v>497.19600000000003</c:v>
                </c:pt>
                <c:pt idx="2654">
                  <c:v>489.04599999999999</c:v>
                </c:pt>
                <c:pt idx="2655">
                  <c:v>482.45400000000001</c:v>
                </c:pt>
                <c:pt idx="2656">
                  <c:v>524.74800000000005</c:v>
                </c:pt>
                <c:pt idx="2657">
                  <c:v>508.95499999999998</c:v>
                </c:pt>
                <c:pt idx="2658">
                  <c:v>501.95</c:v>
                </c:pt>
                <c:pt idx="2659">
                  <c:v>492.904</c:v>
                </c:pt>
                <c:pt idx="2660">
                  <c:v>473.85700000000003</c:v>
                </c:pt>
                <c:pt idx="2661">
                  <c:v>474.262</c:v>
                </c:pt>
                <c:pt idx="2662">
                  <c:v>477.858</c:v>
                </c:pt>
                <c:pt idx="2663">
                  <c:v>494.90699999999998</c:v>
                </c:pt>
                <c:pt idx="2664">
                  <c:v>501.84800000000001</c:v>
                </c:pt>
                <c:pt idx="2665">
                  <c:v>492.41500000000002</c:v>
                </c:pt>
                <c:pt idx="2666">
                  <c:v>514.42499999999995</c:v>
                </c:pt>
                <c:pt idx="2667">
                  <c:v>512.30600000000004</c:v>
                </c:pt>
                <c:pt idx="2668">
                  <c:v>506.02499999999998</c:v>
                </c:pt>
                <c:pt idx="2669">
                  <c:v>493.14800000000002</c:v>
                </c:pt>
                <c:pt idx="2670">
                  <c:v>490.34399999999999</c:v>
                </c:pt>
                <c:pt idx="2671">
                  <c:v>489.041</c:v>
                </c:pt>
                <c:pt idx="2672">
                  <c:v>487.399</c:v>
                </c:pt>
                <c:pt idx="2673">
                  <c:v>495.82400000000001</c:v>
                </c:pt>
                <c:pt idx="2674">
                  <c:v>495.60500000000002</c:v>
                </c:pt>
                <c:pt idx="2675">
                  <c:v>503.49599999999998</c:v>
                </c:pt>
                <c:pt idx="2676">
                  <c:v>509.41300000000001</c:v>
                </c:pt>
                <c:pt idx="2677">
                  <c:v>495.52199999999999</c:v>
                </c:pt>
                <c:pt idx="2678">
                  <c:v>486.221</c:v>
                </c:pt>
                <c:pt idx="2679">
                  <c:v>457.76499999999999</c:v>
                </c:pt>
                <c:pt idx="2680">
                  <c:v>442.25299999999999</c:v>
                </c:pt>
                <c:pt idx="2681">
                  <c:v>438.45</c:v>
                </c:pt>
                <c:pt idx="2682">
                  <c:v>447.14600000000002</c:v>
                </c:pt>
                <c:pt idx="2683">
                  <c:v>444.91500000000002</c:v>
                </c:pt>
                <c:pt idx="2684">
                  <c:v>453.90199999999999</c:v>
                </c:pt>
                <c:pt idx="2685">
                  <c:v>456.49200000000002</c:v>
                </c:pt>
                <c:pt idx="2686">
                  <c:v>441.61700000000002</c:v>
                </c:pt>
                <c:pt idx="2687">
                  <c:v>438.41899999999998</c:v>
                </c:pt>
                <c:pt idx="2688">
                  <c:v>439.95499999999998</c:v>
                </c:pt>
                <c:pt idx="2689">
                  <c:v>434.88400000000001</c:v>
                </c:pt>
                <c:pt idx="2690">
                  <c:v>435.209</c:v>
                </c:pt>
                <c:pt idx="2691">
                  <c:v>423.12299999999999</c:v>
                </c:pt>
                <c:pt idx="2692">
                  <c:v>388.97899999999998</c:v>
                </c:pt>
                <c:pt idx="2693">
                  <c:v>377.76299999999998</c:v>
                </c:pt>
                <c:pt idx="2694">
                  <c:v>394.75799999999998</c:v>
                </c:pt>
                <c:pt idx="2695">
                  <c:v>409.39100000000002</c:v>
                </c:pt>
                <c:pt idx="2696">
                  <c:v>403.15100000000001</c:v>
                </c:pt>
                <c:pt idx="2697">
                  <c:v>393.44600000000003</c:v>
                </c:pt>
                <c:pt idx="2698">
                  <c:v>396.303</c:v>
                </c:pt>
                <c:pt idx="2699">
                  <c:v>409.12200000000001</c:v>
                </c:pt>
                <c:pt idx="2700">
                  <c:v>407.55599999999998</c:v>
                </c:pt>
                <c:pt idx="2701">
                  <c:v>395.76799999999997</c:v>
                </c:pt>
                <c:pt idx="2702">
                  <c:v>399.34</c:v>
                </c:pt>
                <c:pt idx="2703">
                  <c:v>409.863</c:v>
                </c:pt>
                <c:pt idx="2704">
                  <c:v>419.92899999999997</c:v>
                </c:pt>
                <c:pt idx="2705">
                  <c:v>413.1</c:v>
                </c:pt>
                <c:pt idx="2706">
                  <c:v>419.91399999999999</c:v>
                </c:pt>
                <c:pt idx="2707">
                  <c:v>431.94600000000003</c:v>
                </c:pt>
                <c:pt idx="2708">
                  <c:v>426.25099999999998</c:v>
                </c:pt>
                <c:pt idx="2709">
                  <c:v>421.19900000000001</c:v>
                </c:pt>
                <c:pt idx="2710">
                  <c:v>412.19200000000001</c:v>
                </c:pt>
                <c:pt idx="2711">
                  <c:v>394.15199999999999</c:v>
                </c:pt>
                <c:pt idx="2712">
                  <c:v>399.24299999999999</c:v>
                </c:pt>
                <c:pt idx="2713">
                  <c:v>386.52</c:v>
                </c:pt>
                <c:pt idx="2714">
                  <c:v>369.71499999999997</c:v>
                </c:pt>
                <c:pt idx="2715">
                  <c:v>372.887</c:v>
                </c:pt>
                <c:pt idx="2716">
                  <c:v>380.73</c:v>
                </c:pt>
                <c:pt idx="2717">
                  <c:v>377.84300000000002</c:v>
                </c:pt>
                <c:pt idx="2718">
                  <c:v>377.05200000000002</c:v>
                </c:pt>
                <c:pt idx="2719">
                  <c:v>376.66199999999998</c:v>
                </c:pt>
                <c:pt idx="2720">
                  <c:v>382.41699999999997</c:v>
                </c:pt>
                <c:pt idx="2721">
                  <c:v>384.97800000000001</c:v>
                </c:pt>
                <c:pt idx="2722">
                  <c:v>379.923</c:v>
                </c:pt>
                <c:pt idx="2723">
                  <c:v>379.84899999999999</c:v>
                </c:pt>
                <c:pt idx="2724">
                  <c:v>389.01100000000002</c:v>
                </c:pt>
                <c:pt idx="2725">
                  <c:v>389.54700000000003</c:v>
                </c:pt>
                <c:pt idx="2726">
                  <c:v>392.68799999999999</c:v>
                </c:pt>
                <c:pt idx="2727">
                  <c:v>393.87599999999998</c:v>
                </c:pt>
                <c:pt idx="2728">
                  <c:v>393.62799999999999</c:v>
                </c:pt>
                <c:pt idx="2729">
                  <c:v>383.589</c:v>
                </c:pt>
                <c:pt idx="2730">
                  <c:v>385.15800000000002</c:v>
                </c:pt>
                <c:pt idx="2731">
                  <c:v>389.495</c:v>
                </c:pt>
                <c:pt idx="2732">
                  <c:v>382.23700000000002</c:v>
                </c:pt>
                <c:pt idx="2733">
                  <c:v>383.291</c:v>
                </c:pt>
                <c:pt idx="2734">
                  <c:v>391.142</c:v>
                </c:pt>
                <c:pt idx="2735">
                  <c:v>396.29599999999999</c:v>
                </c:pt>
                <c:pt idx="2736">
                  <c:v>404.02499999999998</c:v>
                </c:pt>
                <c:pt idx="2737">
                  <c:v>399.66199999999998</c:v>
                </c:pt>
                <c:pt idx="2738">
                  <c:v>405.447</c:v>
                </c:pt>
                <c:pt idx="2739">
                  <c:v>414.839</c:v>
                </c:pt>
                <c:pt idx="2740">
                  <c:v>408.86200000000002</c:v>
                </c:pt>
                <c:pt idx="2741">
                  <c:v>409.94600000000003</c:v>
                </c:pt>
                <c:pt idx="2742">
                  <c:v>407.32799999999997</c:v>
                </c:pt>
                <c:pt idx="2743">
                  <c:v>412.07299999999998</c:v>
                </c:pt>
                <c:pt idx="2744">
                  <c:v>395.61200000000002</c:v>
                </c:pt>
                <c:pt idx="2745">
                  <c:v>397.70400000000001</c:v>
                </c:pt>
                <c:pt idx="2746">
                  <c:v>398.351</c:v>
                </c:pt>
                <c:pt idx="2747">
                  <c:v>411.596</c:v>
                </c:pt>
                <c:pt idx="2748">
                  <c:v>410.875</c:v>
                </c:pt>
                <c:pt idx="2749">
                  <c:v>409.62900000000002</c:v>
                </c:pt>
                <c:pt idx="2750">
                  <c:v>422.44600000000003</c:v>
                </c:pt>
                <c:pt idx="2751">
                  <c:v>423.90600000000001</c:v>
                </c:pt>
                <c:pt idx="2752">
                  <c:v>429.22300000000001</c:v>
                </c:pt>
                <c:pt idx="2753">
                  <c:v>422.99400000000003</c:v>
                </c:pt>
                <c:pt idx="2754">
                  <c:v>409.77199999999999</c:v>
                </c:pt>
                <c:pt idx="2755">
                  <c:v>417.16800000000001</c:v>
                </c:pt>
                <c:pt idx="2756">
                  <c:v>418.60199999999998</c:v>
                </c:pt>
                <c:pt idx="2757">
                  <c:v>412.69299999999998</c:v>
                </c:pt>
                <c:pt idx="2758">
                  <c:v>408.45800000000003</c:v>
                </c:pt>
                <c:pt idx="2759">
                  <c:v>399.197</c:v>
                </c:pt>
                <c:pt idx="2760">
                  <c:v>390.58800000000002</c:v>
                </c:pt>
                <c:pt idx="2761">
                  <c:v>371.36700000000002</c:v>
                </c:pt>
                <c:pt idx="2762">
                  <c:v>366.69200000000001</c:v>
                </c:pt>
                <c:pt idx="2763">
                  <c:v>371.16399999999999</c:v>
                </c:pt>
                <c:pt idx="2764">
                  <c:v>375.26600000000002</c:v>
                </c:pt>
                <c:pt idx="2765">
                  <c:v>374.613</c:v>
                </c:pt>
                <c:pt idx="2766">
                  <c:v>376.17899999999997</c:v>
                </c:pt>
                <c:pt idx="2767">
                  <c:v>378.70499999999998</c:v>
                </c:pt>
                <c:pt idx="2768">
                  <c:v>378.26</c:v>
                </c:pt>
                <c:pt idx="2769">
                  <c:v>366.86799999999999</c:v>
                </c:pt>
                <c:pt idx="2770">
                  <c:v>356.69499999999999</c:v>
                </c:pt>
                <c:pt idx="2771">
                  <c:v>355.57</c:v>
                </c:pt>
                <c:pt idx="2772">
                  <c:v>347.25900000000001</c:v>
                </c:pt>
                <c:pt idx="2773">
                  <c:v>340.46300000000002</c:v>
                </c:pt>
                <c:pt idx="2774">
                  <c:v>336.02800000000002</c:v>
                </c:pt>
                <c:pt idx="2775">
                  <c:v>340.24700000000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B9E6-4901-A782-07973215EE4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951394255"/>
        <c:axId val="458431135"/>
      </c:lineChart>
      <c:dateAx>
        <c:axId val="1951394255"/>
        <c:scaling>
          <c:orientation val="minMax"/>
        </c:scaling>
        <c:delete val="0"/>
        <c:axPos val="b"/>
        <c:numFmt formatCode="dd/mm/yy;@" sourceLinked="0"/>
        <c:majorTickMark val="none"/>
        <c:minorTickMark val="none"/>
        <c:tickLblPos val="nextTo"/>
        <c:spPr>
          <a:noFill/>
          <a:ln w="6350" cap="flat" cmpd="sng" algn="ctr">
            <a:solidFill>
              <a:schemeClr val="tx1"/>
            </a:solidFill>
            <a:round/>
          </a:ln>
          <a:effectLst/>
        </c:spPr>
        <c:txPr>
          <a:bodyPr rot="-5400000" vert="horz"/>
          <a:lstStyle/>
          <a:p>
            <a:pPr>
              <a:defRPr sz="1200"/>
            </a:pPr>
            <a:endParaRPr lang="en-US"/>
          </a:p>
        </c:txPr>
        <c:crossAx val="458431135"/>
        <c:crosses val="autoZero"/>
        <c:auto val="1"/>
        <c:lblOffset val="100"/>
        <c:baseTimeUnit val="days"/>
      </c:dateAx>
      <c:valAx>
        <c:axId val="458431135"/>
        <c:scaling>
          <c:orientation val="minMax"/>
          <c:max val="9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vert="horz"/>
          <a:lstStyle/>
          <a:p>
            <a:pPr>
              <a:defRPr/>
            </a:pPr>
            <a:endParaRPr lang="en-US"/>
          </a:p>
        </c:txPr>
        <c:crossAx val="1951394255"/>
        <c:crosses val="autoZero"/>
        <c:crossBetween val="between"/>
      </c:valAx>
    </c:plotArea>
    <c:legend>
      <c:legendPos val="t"/>
      <c:overlay val="0"/>
    </c:legend>
    <c:plotVisOnly val="1"/>
    <c:dispBlanksAs val="gap"/>
    <c:showDLblsOverMax val="0"/>
    <c:extLst/>
  </c:chart>
  <c:spPr>
    <a:ln>
      <a:solidFill>
        <a:srgbClr val="000000"/>
      </a:solidFill>
    </a:ln>
  </c:spPr>
  <c:txPr>
    <a:bodyPr/>
    <a:lstStyle/>
    <a:p>
      <a:pPr>
        <a:defRPr sz="1800" b="1"/>
      </a:pPr>
      <a:endParaRPr lang="en-US"/>
    </a:p>
  </c:txPr>
  <c:externalData r:id="rId2">
    <c:autoUpdate val="0"/>
  </c:externalData>
  <c:userShapes r:id="rId3"/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7.7055182916950196E-2"/>
          <c:y val="0.14390237678623505"/>
          <c:w val="0.89061089586023967"/>
          <c:h val="0.74869823563721205"/>
        </c:manualLayout>
      </c:layout>
      <c:barChart>
        <c:barDir val="col"/>
        <c:grouping val="clustered"/>
        <c:varyColors val="0"/>
        <c:ser>
          <c:idx val="3"/>
          <c:order val="0"/>
          <c:tx>
            <c:strRef>
              <c:f>'Debt stock'!$E$2</c:f>
              <c:strCache>
                <c:ptCount val="1"/>
                <c:pt idx="0">
                  <c:v>G7</c:v>
                </c:pt>
              </c:strCache>
            </c:strRef>
          </c:tx>
          <c:spPr>
            <a:solidFill>
              <a:schemeClr val="accent2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'Debt stock'!$A$63:$A$66</c:f>
              <c:numCache>
                <c:formatCode>General</c:formatCode>
                <c:ptCount val="4"/>
                <c:pt idx="0">
                  <c:v>2000</c:v>
                </c:pt>
                <c:pt idx="1">
                  <c:v>2007</c:v>
                </c:pt>
                <c:pt idx="2">
                  <c:v>2023</c:v>
                </c:pt>
                <c:pt idx="3">
                  <c:v>2028</c:v>
                </c:pt>
              </c:numCache>
            </c:numRef>
          </c:cat>
          <c:val>
            <c:numRef>
              <c:f>'Debt stock'!$E$63:$E$66</c:f>
              <c:numCache>
                <c:formatCode>0</c:formatCode>
                <c:ptCount val="4"/>
                <c:pt idx="0">
                  <c:v>75</c:v>
                </c:pt>
                <c:pt idx="1">
                  <c:v>80.688999999999993</c:v>
                </c:pt>
                <c:pt idx="2">
                  <c:v>127.791</c:v>
                </c:pt>
                <c:pt idx="3">
                  <c:v>134.294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96E-410F-8F28-344932251975}"/>
            </c:ext>
          </c:extLst>
        </c:ser>
        <c:ser>
          <c:idx val="1"/>
          <c:order val="1"/>
          <c:tx>
            <c:strRef>
              <c:f>'Debt stock'!$B$2</c:f>
              <c:strCache>
                <c:ptCount val="1"/>
                <c:pt idx="0">
                  <c:v>Türkiye</c:v>
                </c:pt>
              </c:strCache>
            </c:strRef>
          </c:tx>
          <c:spPr>
            <a:solidFill>
              <a:srgbClr val="00B050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>
                  <a:defRPr/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'Debt stock'!$A$63:$A$66</c:f>
              <c:numCache>
                <c:formatCode>General</c:formatCode>
                <c:ptCount val="4"/>
                <c:pt idx="0">
                  <c:v>2000</c:v>
                </c:pt>
                <c:pt idx="1">
                  <c:v>2007</c:v>
                </c:pt>
                <c:pt idx="2">
                  <c:v>2023</c:v>
                </c:pt>
                <c:pt idx="3">
                  <c:v>2028</c:v>
                </c:pt>
              </c:numCache>
            </c:numRef>
          </c:cat>
          <c:val>
            <c:numRef>
              <c:f>'Debt stock'!$B$63:$B$66</c:f>
              <c:numCache>
                <c:formatCode>0</c:formatCode>
                <c:ptCount val="4"/>
                <c:pt idx="0">
                  <c:v>51.317999999999998</c:v>
                </c:pt>
                <c:pt idx="1">
                  <c:v>37.759</c:v>
                </c:pt>
                <c:pt idx="2">
                  <c:v>30</c:v>
                </c:pt>
                <c:pt idx="3">
                  <c:v>32.170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96E-410F-8F28-344932251975}"/>
            </c:ext>
          </c:extLst>
        </c:ser>
        <c:ser>
          <c:idx val="0"/>
          <c:order val="2"/>
          <c:tx>
            <c:strRef>
              <c:f>'Debt stock'!$I$2</c:f>
              <c:strCache>
                <c:ptCount val="1"/>
                <c:pt idx="0">
                  <c:v>Emerg. Mark. and dev. econ.</c:v>
                </c:pt>
              </c:strCache>
            </c:strRef>
          </c:tx>
          <c:invertIfNegative val="0"/>
          <c:dLbls>
            <c:spPr>
              <a:noFill/>
              <a:ln>
                <a:noFill/>
              </a:ln>
              <a:effectLst/>
            </c:sp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'Debt stock'!$A$63:$A$66</c:f>
              <c:numCache>
                <c:formatCode>General</c:formatCode>
                <c:ptCount val="4"/>
                <c:pt idx="0">
                  <c:v>2000</c:v>
                </c:pt>
                <c:pt idx="1">
                  <c:v>2007</c:v>
                </c:pt>
                <c:pt idx="2">
                  <c:v>2023</c:v>
                </c:pt>
                <c:pt idx="3">
                  <c:v>2028</c:v>
                </c:pt>
              </c:numCache>
            </c:numRef>
          </c:cat>
          <c:val>
            <c:numRef>
              <c:f>'Debt stock'!$I$63:$I$66</c:f>
              <c:numCache>
                <c:formatCode>0</c:formatCode>
                <c:ptCount val="4"/>
                <c:pt idx="0">
                  <c:v>47.033999999999999</c:v>
                </c:pt>
                <c:pt idx="1">
                  <c:v>35.548000000000002</c:v>
                </c:pt>
                <c:pt idx="2">
                  <c:v>67.039000000000001</c:v>
                </c:pt>
                <c:pt idx="3">
                  <c:v>75.42600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796E-410F-8F28-34493225197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346339887"/>
        <c:axId val="1448222335"/>
      </c:barChart>
      <c:catAx>
        <c:axId val="346339887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/>
            </a:pPr>
            <a:endParaRPr lang="en-US"/>
          </a:p>
        </c:txPr>
        <c:crossAx val="1448222335"/>
        <c:crosses val="autoZero"/>
        <c:auto val="1"/>
        <c:lblAlgn val="ctr"/>
        <c:lblOffset val="100"/>
        <c:noMultiLvlLbl val="0"/>
      </c:catAx>
      <c:valAx>
        <c:axId val="1448222335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" sourceLinked="0"/>
        <c:majorTickMark val="out"/>
        <c:minorTickMark val="none"/>
        <c:tickLblPos val="nextTo"/>
        <c:spPr>
          <a:noFill/>
          <a:ln>
            <a:solidFill>
              <a:srgbClr val="002060"/>
            </a:solidFill>
          </a:ln>
          <a:effectLst/>
        </c:spPr>
        <c:txPr>
          <a:bodyPr rot="-60000000" vert="horz"/>
          <a:lstStyle/>
          <a:p>
            <a:pPr>
              <a:defRPr/>
            </a:pPr>
            <a:endParaRPr lang="en-US"/>
          </a:p>
        </c:txPr>
        <c:crossAx val="346339887"/>
        <c:crosses val="autoZero"/>
        <c:crossBetween val="between"/>
      </c:valAx>
    </c:plotArea>
    <c:legend>
      <c:legendPos val="t"/>
      <c:layout>
        <c:manualLayout>
          <c:xMode val="edge"/>
          <c:yMode val="edge"/>
          <c:x val="8.215639711702704E-3"/>
          <c:y val="1.8935185185185201E-2"/>
          <c:w val="0.97148775153105837"/>
          <c:h val="0.11496135899679205"/>
        </c:manualLayout>
      </c:layout>
      <c:overlay val="0"/>
    </c:legend>
    <c:plotVisOnly val="1"/>
    <c:dispBlanksAs val="gap"/>
    <c:showDLblsOverMax val="0"/>
    <c:extLst/>
  </c:chart>
  <c:spPr>
    <a:ln>
      <a:solidFill>
        <a:srgbClr val="000000"/>
      </a:solidFill>
    </a:ln>
  </c:spPr>
  <c:txPr>
    <a:bodyPr/>
    <a:lstStyle/>
    <a:p>
      <a:pPr>
        <a:defRPr sz="1600" b="1">
          <a:solidFill>
            <a:schemeClr val="tx1"/>
          </a:solidFill>
        </a:defRPr>
      </a:pPr>
      <a:endParaRPr lang="en-US"/>
    </a:p>
  </c:txPr>
  <c:externalData r:id="rId2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7.7055182916950196E-2"/>
          <c:y val="0.14390237678623505"/>
          <c:w val="0.89061089586023967"/>
          <c:h val="0.74869823563721205"/>
        </c:manualLayout>
      </c:layout>
      <c:barChart>
        <c:barDir val="col"/>
        <c:grouping val="clustered"/>
        <c:varyColors val="0"/>
        <c:ser>
          <c:idx val="2"/>
          <c:order val="0"/>
          <c:tx>
            <c:strRef>
              <c:f>growth!$B$2</c:f>
              <c:strCache>
                <c:ptCount val="1"/>
                <c:pt idx="0">
                  <c:v>World</c:v>
                </c:pt>
              </c:strCache>
            </c:strRef>
          </c:tx>
          <c:spPr>
            <a:solidFill>
              <a:schemeClr val="bg2">
                <a:lumMod val="75000"/>
              </a:schemeClr>
            </a:solidFill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>
                    <a:solidFill>
                      <a:schemeClr val="bg1">
                        <a:lumMod val="50000"/>
                      </a:schemeClr>
                    </a:solidFill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growth!$A$57:$A$61</c:f>
              <c:strCache>
                <c:ptCount val="5"/>
                <c:pt idx="0">
                  <c:v>1990s</c:v>
                </c:pt>
                <c:pt idx="1">
                  <c:v>2000s</c:v>
                </c:pt>
                <c:pt idx="2">
                  <c:v>2010s</c:v>
                </c:pt>
                <c:pt idx="3">
                  <c:v>2020-23</c:v>
                </c:pt>
                <c:pt idx="4">
                  <c:v>2024-28</c:v>
                </c:pt>
              </c:strCache>
            </c:strRef>
          </c:cat>
          <c:val>
            <c:numRef>
              <c:f>growth!$B$57:$B$61</c:f>
              <c:numCache>
                <c:formatCode>0.0</c:formatCode>
                <c:ptCount val="5"/>
                <c:pt idx="0">
                  <c:v>3.1225000000000001</c:v>
                </c:pt>
                <c:pt idx="1">
                  <c:v>3.8592</c:v>
                </c:pt>
                <c:pt idx="2">
                  <c:v>3.7015000000000002</c:v>
                </c:pt>
                <c:pt idx="3">
                  <c:v>2.4950000000000001</c:v>
                </c:pt>
                <c:pt idx="4">
                  <c:v>3.1097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A62-4A3A-A053-4A9076445A5A}"/>
            </c:ext>
          </c:extLst>
        </c:ser>
        <c:ser>
          <c:idx val="3"/>
          <c:order val="1"/>
          <c:tx>
            <c:strRef>
              <c:f>growth!$C$2</c:f>
              <c:strCache>
                <c:ptCount val="1"/>
                <c:pt idx="0">
                  <c:v>Türkiye</c:v>
                </c:pt>
              </c:strCache>
            </c:strRef>
          </c:tx>
          <c:spPr>
            <a:solidFill>
              <a:srgbClr val="00B050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>
                    <a:solidFill>
                      <a:srgbClr val="00B050"/>
                    </a:solidFill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growth!$A$57:$A$61</c:f>
              <c:strCache>
                <c:ptCount val="5"/>
                <c:pt idx="0">
                  <c:v>1990s</c:v>
                </c:pt>
                <c:pt idx="1">
                  <c:v>2000s</c:v>
                </c:pt>
                <c:pt idx="2">
                  <c:v>2010s</c:v>
                </c:pt>
                <c:pt idx="3">
                  <c:v>2020-23</c:v>
                </c:pt>
                <c:pt idx="4">
                  <c:v>2024-28</c:v>
                </c:pt>
              </c:strCache>
            </c:strRef>
          </c:cat>
          <c:val>
            <c:numRef>
              <c:f>growth!$C$57:$C$61</c:f>
              <c:numCache>
                <c:formatCode>0.0</c:formatCode>
                <c:ptCount val="5"/>
                <c:pt idx="0">
                  <c:v>3.7655000000000003</c:v>
                </c:pt>
                <c:pt idx="1">
                  <c:v>4.0165999999999995</c:v>
                </c:pt>
                <c:pt idx="2">
                  <c:v>5.8582000000000001</c:v>
                </c:pt>
                <c:pt idx="3">
                  <c:v>5.6972500000000004</c:v>
                </c:pt>
                <c:pt idx="4">
                  <c:v>3.1705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A62-4A3A-A053-4A9076445A5A}"/>
            </c:ext>
          </c:extLst>
        </c:ser>
        <c:ser>
          <c:idx val="0"/>
          <c:order val="2"/>
          <c:tx>
            <c:strRef>
              <c:f>growth!$J$2</c:f>
              <c:strCache>
                <c:ptCount val="1"/>
                <c:pt idx="0">
                  <c:v>Emerg. Mark. and dev. econ.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>
                    <a:solidFill>
                      <a:srgbClr val="0070C0"/>
                    </a:solidFill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growth!$A$57:$A$61</c:f>
              <c:strCache>
                <c:ptCount val="5"/>
                <c:pt idx="0">
                  <c:v>1990s</c:v>
                </c:pt>
                <c:pt idx="1">
                  <c:v>2000s</c:v>
                </c:pt>
                <c:pt idx="2">
                  <c:v>2010s</c:v>
                </c:pt>
                <c:pt idx="3">
                  <c:v>2020-23</c:v>
                </c:pt>
                <c:pt idx="4">
                  <c:v>2024-28</c:v>
                </c:pt>
              </c:strCache>
            </c:strRef>
          </c:cat>
          <c:val>
            <c:numRef>
              <c:f>growth!$J$57:$J$61</c:f>
              <c:numCache>
                <c:formatCode>0.0</c:formatCode>
                <c:ptCount val="5"/>
                <c:pt idx="0">
                  <c:v>3.5088750000000002</c:v>
                </c:pt>
                <c:pt idx="1">
                  <c:v>6.0350999999999999</c:v>
                </c:pt>
                <c:pt idx="2">
                  <c:v>5.0515999999999996</c:v>
                </c:pt>
                <c:pt idx="3">
                  <c:v>3.6903333333333332</c:v>
                </c:pt>
                <c:pt idx="4">
                  <c:v>4.011799999999999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A62-4A3A-A053-4A9076445A5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346339887"/>
        <c:axId val="1448222335"/>
      </c:barChart>
      <c:catAx>
        <c:axId val="346339887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/>
            </a:pPr>
            <a:endParaRPr lang="en-US"/>
          </a:p>
        </c:txPr>
        <c:crossAx val="1448222335"/>
        <c:crosses val="autoZero"/>
        <c:auto val="1"/>
        <c:lblAlgn val="ctr"/>
        <c:lblOffset val="100"/>
        <c:noMultiLvlLbl val="0"/>
      </c:catAx>
      <c:valAx>
        <c:axId val="1448222335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" sourceLinked="0"/>
        <c:majorTickMark val="out"/>
        <c:minorTickMark val="none"/>
        <c:tickLblPos val="nextTo"/>
        <c:spPr>
          <a:noFill/>
          <a:ln>
            <a:solidFill>
              <a:srgbClr val="002060"/>
            </a:solidFill>
          </a:ln>
          <a:effectLst/>
        </c:spPr>
        <c:txPr>
          <a:bodyPr rot="-60000000" vert="horz"/>
          <a:lstStyle/>
          <a:p>
            <a:pPr>
              <a:defRPr/>
            </a:pPr>
            <a:endParaRPr lang="en-US"/>
          </a:p>
        </c:txPr>
        <c:crossAx val="346339887"/>
        <c:crosses val="autoZero"/>
        <c:crossBetween val="between"/>
      </c:valAx>
    </c:plotArea>
    <c:legend>
      <c:legendPos val="t"/>
      <c:layout>
        <c:manualLayout>
          <c:xMode val="edge"/>
          <c:yMode val="edge"/>
          <c:x val="8.215639711702704E-3"/>
          <c:y val="1.8935185185185201E-2"/>
          <c:w val="0.97148775153105837"/>
          <c:h val="0.11496135899679205"/>
        </c:manualLayout>
      </c:layout>
      <c:overlay val="0"/>
    </c:legend>
    <c:plotVisOnly val="1"/>
    <c:dispBlanksAs val="gap"/>
    <c:showDLblsOverMax val="0"/>
    <c:extLst/>
  </c:chart>
  <c:spPr>
    <a:ln>
      <a:solidFill>
        <a:srgbClr val="000000"/>
      </a:solidFill>
    </a:ln>
  </c:spPr>
  <c:txPr>
    <a:bodyPr/>
    <a:lstStyle/>
    <a:p>
      <a:pPr>
        <a:defRPr sz="1600" b="1">
          <a:solidFill>
            <a:schemeClr val="tx1"/>
          </a:solidFill>
        </a:defRPr>
      </a:pPr>
      <a:endParaRPr lang="en-US"/>
    </a:p>
  </c:txPr>
  <c:externalData r:id="rId2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7.9545201877389629E-2"/>
          <c:y val="0.10286155376760793"/>
          <c:w val="0.88669175330984185"/>
          <c:h val="0.76608658802657381"/>
        </c:manualLayout>
      </c:layout>
      <c:lineChart>
        <c:grouping val="standard"/>
        <c:varyColors val="0"/>
        <c:ser>
          <c:idx val="2"/>
          <c:order val="0"/>
          <c:tx>
            <c:strRef>
              <c:f>enf!$J$2</c:f>
              <c:strCache>
                <c:ptCount val="1"/>
                <c:pt idx="0">
                  <c:v>Emerg. Mark. and dev. econ.</c:v>
                </c:pt>
              </c:strCache>
            </c:strRef>
          </c:tx>
          <c:spPr>
            <a:ln w="31750" cap="rnd">
              <a:solidFill>
                <a:srgbClr val="0070C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enf!$A$19:$A$46</c:f>
              <c:numCache>
                <c:formatCode>General</c:formatCode>
                <c:ptCount val="28"/>
                <c:pt idx="0">
                  <c:v>1996</c:v>
                </c:pt>
                <c:pt idx="1">
                  <c:v>1997</c:v>
                </c:pt>
                <c:pt idx="2">
                  <c:v>1998</c:v>
                </c:pt>
                <c:pt idx="3">
                  <c:v>1999</c:v>
                </c:pt>
                <c:pt idx="4">
                  <c:v>2000</c:v>
                </c:pt>
                <c:pt idx="5">
                  <c:v>2001</c:v>
                </c:pt>
                <c:pt idx="6">
                  <c:v>2002</c:v>
                </c:pt>
                <c:pt idx="7">
                  <c:v>2003</c:v>
                </c:pt>
                <c:pt idx="8">
                  <c:v>2004</c:v>
                </c:pt>
                <c:pt idx="9">
                  <c:v>2005</c:v>
                </c:pt>
                <c:pt idx="10">
                  <c:v>2006</c:v>
                </c:pt>
                <c:pt idx="11">
                  <c:v>2007</c:v>
                </c:pt>
                <c:pt idx="12">
                  <c:v>2008</c:v>
                </c:pt>
                <c:pt idx="13">
                  <c:v>2009</c:v>
                </c:pt>
                <c:pt idx="14">
                  <c:v>2010</c:v>
                </c:pt>
                <c:pt idx="15">
                  <c:v>2011</c:v>
                </c:pt>
                <c:pt idx="16">
                  <c:v>2012</c:v>
                </c:pt>
                <c:pt idx="17">
                  <c:v>2013</c:v>
                </c:pt>
                <c:pt idx="18">
                  <c:v>2014</c:v>
                </c:pt>
                <c:pt idx="19">
                  <c:v>2015</c:v>
                </c:pt>
                <c:pt idx="20">
                  <c:v>2016</c:v>
                </c:pt>
                <c:pt idx="21">
                  <c:v>2017</c:v>
                </c:pt>
                <c:pt idx="22">
                  <c:v>2018</c:v>
                </c:pt>
                <c:pt idx="23">
                  <c:v>2019</c:v>
                </c:pt>
                <c:pt idx="24">
                  <c:v>2020</c:v>
                </c:pt>
                <c:pt idx="25">
                  <c:v>2021</c:v>
                </c:pt>
                <c:pt idx="26">
                  <c:v>2022</c:v>
                </c:pt>
                <c:pt idx="27">
                  <c:v>2023</c:v>
                </c:pt>
              </c:numCache>
            </c:numRef>
          </c:cat>
          <c:val>
            <c:numRef>
              <c:f>enf!$J$19:$J$46</c:f>
              <c:numCache>
                <c:formatCode>0.0</c:formatCode>
                <c:ptCount val="28"/>
                <c:pt idx="0">
                  <c:v>19.853000000000002</c:v>
                </c:pt>
                <c:pt idx="1">
                  <c:v>13.051</c:v>
                </c:pt>
                <c:pt idx="2">
                  <c:v>13.382</c:v>
                </c:pt>
                <c:pt idx="3">
                  <c:v>13.311</c:v>
                </c:pt>
                <c:pt idx="4">
                  <c:v>8.5530000000000008</c:v>
                </c:pt>
                <c:pt idx="5">
                  <c:v>7.9050000000000002</c:v>
                </c:pt>
                <c:pt idx="6">
                  <c:v>6.5270000000000001</c:v>
                </c:pt>
                <c:pt idx="7">
                  <c:v>6.5030000000000001</c:v>
                </c:pt>
                <c:pt idx="8">
                  <c:v>5.9820000000000002</c:v>
                </c:pt>
                <c:pt idx="9">
                  <c:v>6.0190000000000001</c:v>
                </c:pt>
                <c:pt idx="10">
                  <c:v>5.9420000000000002</c:v>
                </c:pt>
                <c:pt idx="11">
                  <c:v>6.5220000000000002</c:v>
                </c:pt>
                <c:pt idx="12">
                  <c:v>9.3109999999999999</c:v>
                </c:pt>
                <c:pt idx="13">
                  <c:v>5.1340000000000003</c:v>
                </c:pt>
                <c:pt idx="14">
                  <c:v>5.6459999999999999</c:v>
                </c:pt>
                <c:pt idx="15">
                  <c:v>7.1459999999999999</c:v>
                </c:pt>
                <c:pt idx="16">
                  <c:v>5.827</c:v>
                </c:pt>
                <c:pt idx="17">
                  <c:v>5.4569999999999999</c:v>
                </c:pt>
                <c:pt idx="18">
                  <c:v>4.7279999999999998</c:v>
                </c:pt>
                <c:pt idx="19">
                  <c:v>4.7699999999999996</c:v>
                </c:pt>
                <c:pt idx="20">
                  <c:v>4.3890000000000002</c:v>
                </c:pt>
                <c:pt idx="21">
                  <c:v>4.4669999999999996</c:v>
                </c:pt>
                <c:pt idx="22">
                  <c:v>4.9089999999999998</c:v>
                </c:pt>
                <c:pt idx="23">
                  <c:v>5.1239999999999997</c:v>
                </c:pt>
                <c:pt idx="24">
                  <c:v>5.1740000000000004</c:v>
                </c:pt>
                <c:pt idx="25">
                  <c:v>5.8789999999999996</c:v>
                </c:pt>
                <c:pt idx="26">
                  <c:v>9.7720000000000002</c:v>
                </c:pt>
                <c:pt idx="27">
                  <c:v>8.483000000000000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151C-46A2-9500-635C51CA74E6}"/>
            </c:ext>
          </c:extLst>
        </c:ser>
        <c:ser>
          <c:idx val="0"/>
          <c:order val="1"/>
          <c:tx>
            <c:strRef>
              <c:f>enf!$C$2</c:f>
              <c:strCache>
                <c:ptCount val="1"/>
                <c:pt idx="0">
                  <c:v>Türkiye</c:v>
                </c:pt>
              </c:strCache>
            </c:strRef>
          </c:tx>
          <c:spPr>
            <a:ln w="44450">
              <a:solidFill>
                <a:srgbClr val="FFC000"/>
              </a:solidFill>
            </a:ln>
          </c:spPr>
          <c:marker>
            <c:symbol val="none"/>
          </c:marker>
          <c:cat>
            <c:numRef>
              <c:f>enf!$A$19:$A$46</c:f>
              <c:numCache>
                <c:formatCode>General</c:formatCode>
                <c:ptCount val="28"/>
                <c:pt idx="0">
                  <c:v>1996</c:v>
                </c:pt>
                <c:pt idx="1">
                  <c:v>1997</c:v>
                </c:pt>
                <c:pt idx="2">
                  <c:v>1998</c:v>
                </c:pt>
                <c:pt idx="3">
                  <c:v>1999</c:v>
                </c:pt>
                <c:pt idx="4">
                  <c:v>2000</c:v>
                </c:pt>
                <c:pt idx="5">
                  <c:v>2001</c:v>
                </c:pt>
                <c:pt idx="6">
                  <c:v>2002</c:v>
                </c:pt>
                <c:pt idx="7">
                  <c:v>2003</c:v>
                </c:pt>
                <c:pt idx="8">
                  <c:v>2004</c:v>
                </c:pt>
                <c:pt idx="9">
                  <c:v>2005</c:v>
                </c:pt>
                <c:pt idx="10">
                  <c:v>2006</c:v>
                </c:pt>
                <c:pt idx="11">
                  <c:v>2007</c:v>
                </c:pt>
                <c:pt idx="12">
                  <c:v>2008</c:v>
                </c:pt>
                <c:pt idx="13">
                  <c:v>2009</c:v>
                </c:pt>
                <c:pt idx="14">
                  <c:v>2010</c:v>
                </c:pt>
                <c:pt idx="15">
                  <c:v>2011</c:v>
                </c:pt>
                <c:pt idx="16">
                  <c:v>2012</c:v>
                </c:pt>
                <c:pt idx="17">
                  <c:v>2013</c:v>
                </c:pt>
                <c:pt idx="18">
                  <c:v>2014</c:v>
                </c:pt>
                <c:pt idx="19">
                  <c:v>2015</c:v>
                </c:pt>
                <c:pt idx="20">
                  <c:v>2016</c:v>
                </c:pt>
                <c:pt idx="21">
                  <c:v>2017</c:v>
                </c:pt>
                <c:pt idx="22">
                  <c:v>2018</c:v>
                </c:pt>
                <c:pt idx="23">
                  <c:v>2019</c:v>
                </c:pt>
                <c:pt idx="24">
                  <c:v>2020</c:v>
                </c:pt>
                <c:pt idx="25">
                  <c:v>2021</c:v>
                </c:pt>
                <c:pt idx="26">
                  <c:v>2022</c:v>
                </c:pt>
                <c:pt idx="27">
                  <c:v>2023</c:v>
                </c:pt>
              </c:numCache>
            </c:numRef>
          </c:cat>
          <c:val>
            <c:numRef>
              <c:f>enf!$C$19:$C$46</c:f>
              <c:numCache>
                <c:formatCode>0.0</c:formatCode>
                <c:ptCount val="28"/>
                <c:pt idx="0">
                  <c:v>80.236000000000004</c:v>
                </c:pt>
                <c:pt idx="1">
                  <c:v>85.653000000000006</c:v>
                </c:pt>
                <c:pt idx="2">
                  <c:v>84.721000000000004</c:v>
                </c:pt>
                <c:pt idx="3">
                  <c:v>64.87</c:v>
                </c:pt>
                <c:pt idx="4">
                  <c:v>55.034999999999997</c:v>
                </c:pt>
                <c:pt idx="5">
                  <c:v>54.246000000000002</c:v>
                </c:pt>
                <c:pt idx="6">
                  <c:v>45.134</c:v>
                </c:pt>
                <c:pt idx="7">
                  <c:v>25.337</c:v>
                </c:pt>
                <c:pt idx="8">
                  <c:v>8.5990000000000002</c:v>
                </c:pt>
                <c:pt idx="9">
                  <c:v>8.1790000000000003</c:v>
                </c:pt>
                <c:pt idx="10">
                  <c:v>9.5969999999999995</c:v>
                </c:pt>
                <c:pt idx="11">
                  <c:v>8.7560000000000002</c:v>
                </c:pt>
                <c:pt idx="12">
                  <c:v>10.444000000000001</c:v>
                </c:pt>
                <c:pt idx="13">
                  <c:v>6.2510000000000003</c:v>
                </c:pt>
                <c:pt idx="14">
                  <c:v>8.5660000000000007</c:v>
                </c:pt>
                <c:pt idx="15">
                  <c:v>6.4720000000000004</c:v>
                </c:pt>
                <c:pt idx="16">
                  <c:v>8.8919999999999995</c:v>
                </c:pt>
                <c:pt idx="17">
                  <c:v>7.4930000000000003</c:v>
                </c:pt>
                <c:pt idx="18">
                  <c:v>8.8550000000000004</c:v>
                </c:pt>
                <c:pt idx="19">
                  <c:v>7.6710000000000003</c:v>
                </c:pt>
                <c:pt idx="20">
                  <c:v>7.7750000000000004</c:v>
                </c:pt>
                <c:pt idx="21">
                  <c:v>11.144</c:v>
                </c:pt>
                <c:pt idx="22">
                  <c:v>16.332000000000001</c:v>
                </c:pt>
                <c:pt idx="23">
                  <c:v>15.177</c:v>
                </c:pt>
                <c:pt idx="24">
                  <c:v>12.279</c:v>
                </c:pt>
                <c:pt idx="25">
                  <c:v>19.596</c:v>
                </c:pt>
                <c:pt idx="26">
                  <c:v>72.308999999999997</c:v>
                </c:pt>
                <c:pt idx="27">
                  <c:v>51.170999999999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151C-46A2-9500-635C51CA74E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599974143"/>
        <c:axId val="1034131599"/>
      </c:lineChart>
      <c:catAx>
        <c:axId val="1599974143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6350" cap="flat" cmpd="sng" algn="ctr">
            <a:solidFill>
              <a:schemeClr val="tx1"/>
            </a:solidFill>
            <a:round/>
          </a:ln>
          <a:effectLst/>
        </c:spPr>
        <c:txPr>
          <a:bodyPr rot="-5400000"/>
          <a:lstStyle/>
          <a:p>
            <a:pPr>
              <a:defRPr sz="1200"/>
            </a:pPr>
            <a:endParaRPr lang="en-US"/>
          </a:p>
        </c:txPr>
        <c:crossAx val="1034131599"/>
        <c:crosses val="autoZero"/>
        <c:auto val="1"/>
        <c:lblAlgn val="ctr"/>
        <c:lblOffset val="100"/>
        <c:noMultiLvlLbl val="0"/>
      </c:catAx>
      <c:valAx>
        <c:axId val="1034131599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vert="horz"/>
          <a:lstStyle/>
          <a:p>
            <a:pPr>
              <a:defRPr/>
            </a:pPr>
            <a:endParaRPr lang="en-US"/>
          </a:p>
        </c:txPr>
        <c:crossAx val="1599974143"/>
        <c:crosses val="autoZero"/>
        <c:crossBetween val="between"/>
      </c:valAx>
    </c:plotArea>
    <c:legend>
      <c:legendPos val="t"/>
      <c:layout>
        <c:manualLayout>
          <c:xMode val="edge"/>
          <c:yMode val="edge"/>
          <c:x val="1.5437769168129951E-2"/>
          <c:y val="4.2689220861947558E-3"/>
          <c:w val="0.96912433597733993"/>
          <c:h val="8.3055882673685091E-2"/>
        </c:manualLayout>
      </c:layout>
      <c:overlay val="0"/>
    </c:legend>
    <c:plotVisOnly val="1"/>
    <c:dispBlanksAs val="gap"/>
    <c:showDLblsOverMax val="0"/>
    <c:extLst/>
  </c:chart>
  <c:spPr>
    <a:ln>
      <a:solidFill>
        <a:srgbClr val="000000"/>
      </a:solidFill>
    </a:ln>
  </c:spPr>
  <c:txPr>
    <a:bodyPr/>
    <a:lstStyle/>
    <a:p>
      <a:pPr>
        <a:defRPr sz="1600" b="1">
          <a:solidFill>
            <a:schemeClr val="tx1"/>
          </a:solidFill>
        </a:defRPr>
      </a:pPr>
      <a:endParaRPr lang="en-US"/>
    </a:p>
  </c:txPr>
  <c:externalData r:id="rId2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2.7090772789636054E-2"/>
          <c:y val="0.10421995805243667"/>
          <c:w val="0.88319979108570956"/>
          <c:h val="0.75915209029094688"/>
        </c:manualLayout>
      </c:layout>
      <c:lineChart>
        <c:grouping val="standard"/>
        <c:varyColors val="0"/>
        <c:ser>
          <c:idx val="0"/>
          <c:order val="0"/>
          <c:tx>
            <c:v>Foreign currency assets</c:v>
          </c:tx>
          <c:spPr>
            <a:ln w="34925" cap="rnd">
              <a:solidFill>
                <a:srgbClr val="0070C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Analitik_Analiz!$A$6:$A$27</c:f>
              <c:numCache>
                <c:formatCode>General</c:formatCode>
                <c:ptCount val="22"/>
                <c:pt idx="0">
                  <c:v>2002</c:v>
                </c:pt>
                <c:pt idx="1">
                  <c:v>2003</c:v>
                </c:pt>
                <c:pt idx="2">
                  <c:v>2004</c:v>
                </c:pt>
                <c:pt idx="3">
                  <c:v>2005</c:v>
                </c:pt>
                <c:pt idx="4">
                  <c:v>2006</c:v>
                </c:pt>
                <c:pt idx="5">
                  <c:v>2007</c:v>
                </c:pt>
                <c:pt idx="6">
                  <c:v>2008</c:v>
                </c:pt>
                <c:pt idx="7">
                  <c:v>2009</c:v>
                </c:pt>
                <c:pt idx="8">
                  <c:v>2010</c:v>
                </c:pt>
                <c:pt idx="9">
                  <c:v>2011</c:v>
                </c:pt>
                <c:pt idx="10">
                  <c:v>2012</c:v>
                </c:pt>
                <c:pt idx="11">
                  <c:v>2013</c:v>
                </c:pt>
                <c:pt idx="12">
                  <c:v>2014</c:v>
                </c:pt>
                <c:pt idx="13">
                  <c:v>2015</c:v>
                </c:pt>
                <c:pt idx="14">
                  <c:v>2016</c:v>
                </c:pt>
                <c:pt idx="15">
                  <c:v>2017</c:v>
                </c:pt>
                <c:pt idx="16">
                  <c:v>2018</c:v>
                </c:pt>
                <c:pt idx="17">
                  <c:v>2019</c:v>
                </c:pt>
                <c:pt idx="18">
                  <c:v>2020</c:v>
                </c:pt>
                <c:pt idx="19">
                  <c:v>2021</c:v>
                </c:pt>
                <c:pt idx="20">
                  <c:v>2022</c:v>
                </c:pt>
                <c:pt idx="21">
                  <c:v>2023</c:v>
                </c:pt>
              </c:numCache>
            </c:numRef>
          </c:cat>
          <c:val>
            <c:numRef>
              <c:f>Analitik_Analiz!$B$6:$B$27</c:f>
              <c:numCache>
                <c:formatCode>#,##0.0</c:formatCode>
                <c:ptCount val="22"/>
                <c:pt idx="0">
                  <c:v>31.2088635250918</c:v>
                </c:pt>
                <c:pt idx="1">
                  <c:v>37.888147564469918</c:v>
                </c:pt>
                <c:pt idx="2">
                  <c:v>39.934535767511171</c:v>
                </c:pt>
                <c:pt idx="3">
                  <c:v>53.862808637379004</c:v>
                </c:pt>
                <c:pt idx="4">
                  <c:v>64.73078485491861</c:v>
                </c:pt>
                <c:pt idx="5">
                  <c:v>78.018100429184543</c:v>
                </c:pt>
                <c:pt idx="6">
                  <c:v>76.034149470899479</c:v>
                </c:pt>
                <c:pt idx="7">
                  <c:v>76.636559096945561</c:v>
                </c:pt>
                <c:pt idx="8">
                  <c:v>87.807806994818662</c:v>
                </c:pt>
                <c:pt idx="9">
                  <c:v>90.775445201887791</c:v>
                </c:pt>
                <c:pt idx="10">
                  <c:v>120.90310880538419</c:v>
                </c:pt>
                <c:pt idx="11">
                  <c:v>132.83281443298969</c:v>
                </c:pt>
                <c:pt idx="12">
                  <c:v>129.11619965502373</c:v>
                </c:pt>
                <c:pt idx="13">
                  <c:v>112.3318992434663</c:v>
                </c:pt>
                <c:pt idx="14">
                  <c:v>107.88235107587769</c:v>
                </c:pt>
                <c:pt idx="15">
                  <c:v>114.65060734908137</c:v>
                </c:pt>
                <c:pt idx="16">
                  <c:v>96.343659190268014</c:v>
                </c:pt>
                <c:pt idx="17">
                  <c:v>107.42890471380471</c:v>
                </c:pt>
                <c:pt idx="18">
                  <c:v>95.281982563683414</c:v>
                </c:pt>
                <c:pt idx="19">
                  <c:v>113.89180752041918</c:v>
                </c:pt>
                <c:pt idx="20">
                  <c:v>130.82081157404932</c:v>
                </c:pt>
                <c:pt idx="21">
                  <c:v>129.0840144480668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18A1-4AF2-81AA-E7F424E8DA5D}"/>
            </c:ext>
          </c:extLst>
        </c:ser>
        <c:ser>
          <c:idx val="3"/>
          <c:order val="1"/>
          <c:tx>
            <c:v>Net foreign currency reserves</c:v>
          </c:tx>
          <c:spPr>
            <a:ln w="38100" cap="rnd">
              <a:solidFill>
                <a:srgbClr val="E2AC00"/>
              </a:solidFill>
              <a:round/>
            </a:ln>
            <a:effectLst/>
          </c:spPr>
          <c:marker>
            <c:symbol val="none"/>
          </c:marker>
          <c:cat>
            <c:numRef>
              <c:f>Analitik_Analiz!$A$6:$A$27</c:f>
              <c:numCache>
                <c:formatCode>General</c:formatCode>
                <c:ptCount val="22"/>
                <c:pt idx="0">
                  <c:v>2002</c:v>
                </c:pt>
                <c:pt idx="1">
                  <c:v>2003</c:v>
                </c:pt>
                <c:pt idx="2">
                  <c:v>2004</c:v>
                </c:pt>
                <c:pt idx="3">
                  <c:v>2005</c:v>
                </c:pt>
                <c:pt idx="4">
                  <c:v>2006</c:v>
                </c:pt>
                <c:pt idx="5">
                  <c:v>2007</c:v>
                </c:pt>
                <c:pt idx="6">
                  <c:v>2008</c:v>
                </c:pt>
                <c:pt idx="7">
                  <c:v>2009</c:v>
                </c:pt>
                <c:pt idx="8">
                  <c:v>2010</c:v>
                </c:pt>
                <c:pt idx="9">
                  <c:v>2011</c:v>
                </c:pt>
                <c:pt idx="10">
                  <c:v>2012</c:v>
                </c:pt>
                <c:pt idx="11">
                  <c:v>2013</c:v>
                </c:pt>
                <c:pt idx="12">
                  <c:v>2014</c:v>
                </c:pt>
                <c:pt idx="13">
                  <c:v>2015</c:v>
                </c:pt>
                <c:pt idx="14">
                  <c:v>2016</c:v>
                </c:pt>
                <c:pt idx="15">
                  <c:v>2017</c:v>
                </c:pt>
                <c:pt idx="16">
                  <c:v>2018</c:v>
                </c:pt>
                <c:pt idx="17">
                  <c:v>2019</c:v>
                </c:pt>
                <c:pt idx="18">
                  <c:v>2020</c:v>
                </c:pt>
                <c:pt idx="19">
                  <c:v>2021</c:v>
                </c:pt>
                <c:pt idx="20">
                  <c:v>2022</c:v>
                </c:pt>
                <c:pt idx="21">
                  <c:v>2023</c:v>
                </c:pt>
              </c:numCache>
            </c:numRef>
          </c:cat>
          <c:val>
            <c:numRef>
              <c:f>Analitik_Analiz!$AM$6:$AM$27</c:f>
              <c:numCache>
                <c:formatCode>#,##0.0</c:formatCode>
                <c:ptCount val="22"/>
                <c:pt idx="0">
                  <c:v>-1.5641296205630368</c:v>
                </c:pt>
                <c:pt idx="1">
                  <c:v>0.37912621776504807</c:v>
                </c:pt>
                <c:pt idx="2">
                  <c:v>2.7292921013412723</c:v>
                </c:pt>
                <c:pt idx="3">
                  <c:v>15.499109456440806</c:v>
                </c:pt>
                <c:pt idx="4">
                  <c:v>20.543389950460011</c:v>
                </c:pt>
                <c:pt idx="5">
                  <c:v>33.525073819742488</c:v>
                </c:pt>
                <c:pt idx="6">
                  <c:v>37.173020502645507</c:v>
                </c:pt>
                <c:pt idx="7">
                  <c:v>37.264411686586996</c:v>
                </c:pt>
                <c:pt idx="8">
                  <c:v>50.342639896373065</c:v>
                </c:pt>
                <c:pt idx="9">
                  <c:v>41.976298374410078</c:v>
                </c:pt>
                <c:pt idx="10">
                  <c:v>43.716262478968048</c:v>
                </c:pt>
                <c:pt idx="11">
                  <c:v>39.224499062792873</c:v>
                </c:pt>
                <c:pt idx="12">
                  <c:v>39.530266494178548</c:v>
                </c:pt>
                <c:pt idx="13">
                  <c:v>28.375446354883067</c:v>
                </c:pt>
                <c:pt idx="14">
                  <c:v>34.00705945639865</c:v>
                </c:pt>
                <c:pt idx="15">
                  <c:v>35.989001574803154</c:v>
                </c:pt>
                <c:pt idx="16">
                  <c:v>28.54659095229044</c:v>
                </c:pt>
                <c:pt idx="17">
                  <c:v>18.554242087542097</c:v>
                </c:pt>
                <c:pt idx="18">
                  <c:v>-58.469305952867472</c:v>
                </c:pt>
                <c:pt idx="19">
                  <c:v>-65.592679611650482</c:v>
                </c:pt>
                <c:pt idx="20">
                  <c:v>-54.426009680697433</c:v>
                </c:pt>
                <c:pt idx="21">
                  <c:v>-64.93324616167971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18A1-4AF2-81AA-E7F424E8DA5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515554912"/>
        <c:axId val="1"/>
      </c:lineChart>
      <c:catAx>
        <c:axId val="151555491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low"/>
        <c:spPr>
          <a:noFill/>
          <a:ln w="9525" cap="flat" cmpd="sng" algn="ctr">
            <a:solidFill>
              <a:srgbClr val="000000"/>
            </a:solidFill>
            <a:round/>
          </a:ln>
          <a:effectLst/>
        </c:spPr>
        <c:txPr>
          <a:bodyPr rot="-5400000" vert="horz"/>
          <a:lstStyle/>
          <a:p>
            <a:pPr>
              <a:defRPr sz="1200"/>
            </a:pPr>
            <a:endParaRPr lang="en-US"/>
          </a:p>
        </c:txPr>
        <c:crossAx val="1"/>
        <c:crosses val="autoZero"/>
        <c:auto val="1"/>
        <c:lblAlgn val="ctr"/>
        <c:lblOffset val="100"/>
        <c:tickLblSkip val="1"/>
        <c:noMultiLvlLbl val="0"/>
      </c:catAx>
      <c:valAx>
        <c:axId val="1"/>
        <c:scaling>
          <c:orientation val="minMax"/>
          <c:max val="135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out"/>
        <c:minorTickMark val="none"/>
        <c:tickLblPos val="nextTo"/>
        <c:spPr>
          <a:noFill/>
          <a:ln>
            <a:solidFill>
              <a:srgbClr val="000000"/>
            </a:solidFill>
          </a:ln>
          <a:effectLst/>
        </c:spPr>
        <c:txPr>
          <a:bodyPr rot="0" vert="horz"/>
          <a:lstStyle/>
          <a:p>
            <a:pPr>
              <a:defRPr/>
            </a:pPr>
            <a:endParaRPr lang="en-US"/>
          </a:p>
        </c:txPr>
        <c:crossAx val="1515554912"/>
        <c:crosses val="autoZero"/>
        <c:crossBetween val="between"/>
        <c:majorUnit val="25"/>
      </c:valAx>
      <c:spPr>
        <a:noFill/>
        <a:ln w="25400">
          <a:noFill/>
        </a:ln>
      </c:spPr>
    </c:plotArea>
    <c:legend>
      <c:legendPos val="t"/>
      <c:layout>
        <c:manualLayout>
          <c:xMode val="edge"/>
          <c:yMode val="edge"/>
          <c:x val="2.9329449781378636E-2"/>
          <c:y val="1.802910859354166E-3"/>
          <c:w val="0.94314769130253551"/>
          <c:h val="0.13111309374380173"/>
        </c:manualLayout>
      </c:layout>
      <c:overlay val="0"/>
    </c:legend>
    <c:plotVisOnly val="1"/>
    <c:dispBlanksAs val="gap"/>
    <c:showDLblsOverMax val="0"/>
  </c:chart>
  <c:spPr>
    <a:solidFill>
      <a:schemeClr val="bg1"/>
    </a:solidFill>
    <a:ln w="9525" cap="flat" cmpd="sng" algn="ctr">
      <a:solidFill>
        <a:schemeClr val="tx1"/>
      </a:solidFill>
      <a:round/>
    </a:ln>
    <a:effectLst/>
  </c:spPr>
  <c:txPr>
    <a:bodyPr/>
    <a:lstStyle/>
    <a:p>
      <a:pPr>
        <a:defRPr sz="1600" b="1" i="0" u="none" strike="noStrike" baseline="0">
          <a:solidFill>
            <a:schemeClr val="tx1"/>
          </a:solidFill>
          <a:latin typeface="+mn-lt"/>
          <a:ea typeface="Times New Roman"/>
          <a:cs typeface="Times New Roman"/>
        </a:defRPr>
      </a:pPr>
      <a:endParaRPr lang="en-US"/>
    </a:p>
  </c:txPr>
  <c:externalData r:id="rId2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3927986452195591E-2"/>
          <c:y val="0.10030528018816795"/>
          <c:w val="0.93455257381605805"/>
          <c:h val="0.79229517876196554"/>
        </c:manualLayout>
      </c:layout>
      <c:barChart>
        <c:barDir val="col"/>
        <c:grouping val="clustered"/>
        <c:varyColors val="0"/>
        <c:ser>
          <c:idx val="3"/>
          <c:order val="0"/>
          <c:tx>
            <c:strRef>
              <c:f>'GDP_$_ppp'!$E$2</c:f>
              <c:strCache>
                <c:ptCount val="1"/>
                <c:pt idx="0">
                  <c:v>G7</c:v>
                </c:pt>
              </c:strCache>
            </c:strRef>
          </c:tx>
          <c:spPr>
            <a:solidFill>
              <a:srgbClr val="D46C2C"/>
            </a:solidFill>
          </c:spPr>
          <c:invertIfNegative val="0"/>
          <c:dPt>
            <c:idx val="0"/>
            <c:invertIfNegative val="0"/>
            <c:bubble3D val="0"/>
            <c:spPr>
              <a:solidFill>
                <a:srgbClr val="D46C2C"/>
              </a:solidFill>
            </c:spPr>
            <c:extLst>
              <c:ext xmlns:c16="http://schemas.microsoft.com/office/drawing/2014/chart" uri="{C3380CC4-5D6E-409C-BE32-E72D297353CC}">
                <c16:uniqueId val="{00000003-D97E-418D-9CA3-1BCD98F71637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>
                    <a:solidFill>
                      <a:srgbClr val="C00000"/>
                    </a:solidFill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'GDP_$_ppp'!$A$62:$A$65</c:f>
              <c:numCache>
                <c:formatCode>General</c:formatCode>
                <c:ptCount val="4"/>
                <c:pt idx="0">
                  <c:v>1995</c:v>
                </c:pt>
                <c:pt idx="1">
                  <c:v>2007</c:v>
                </c:pt>
                <c:pt idx="2">
                  <c:v>2023</c:v>
                </c:pt>
                <c:pt idx="3">
                  <c:v>2028</c:v>
                </c:pt>
              </c:numCache>
            </c:numRef>
          </c:cat>
          <c:val>
            <c:numRef>
              <c:f>'GDP_$_ppp'!$E$62:$E$65</c:f>
              <c:numCache>
                <c:formatCode>0</c:formatCode>
                <c:ptCount val="4"/>
                <c:pt idx="0">
                  <c:v>44.863</c:v>
                </c:pt>
                <c:pt idx="1">
                  <c:v>37.35</c:v>
                </c:pt>
                <c:pt idx="2">
                  <c:v>29.919</c:v>
                </c:pt>
                <c:pt idx="3">
                  <c:v>27.81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97E-418D-9CA3-1BCD98F71637}"/>
            </c:ext>
          </c:extLst>
        </c:ser>
        <c:ser>
          <c:idx val="1"/>
          <c:order val="1"/>
          <c:tx>
            <c:strRef>
              <c:f>'GDP_$_ppp'!$G$2</c:f>
              <c:strCache>
                <c:ptCount val="1"/>
                <c:pt idx="0">
                  <c:v>European Union</c:v>
                </c:pt>
              </c:strCache>
            </c:strRef>
          </c:tx>
          <c:spPr>
            <a:solidFill>
              <a:srgbClr val="E2AC00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>
                    <a:solidFill>
                      <a:srgbClr val="E2AC00"/>
                    </a:solidFill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'GDP_$_ppp'!$A$62:$A$65</c:f>
              <c:numCache>
                <c:formatCode>General</c:formatCode>
                <c:ptCount val="4"/>
                <c:pt idx="0">
                  <c:v>1995</c:v>
                </c:pt>
                <c:pt idx="1">
                  <c:v>2007</c:v>
                </c:pt>
                <c:pt idx="2">
                  <c:v>2023</c:v>
                </c:pt>
                <c:pt idx="3">
                  <c:v>2028</c:v>
                </c:pt>
              </c:numCache>
            </c:numRef>
          </c:cat>
          <c:val>
            <c:numRef>
              <c:f>'GDP_$_ppp'!$G$62:$G$65</c:f>
              <c:numCache>
                <c:formatCode>0</c:formatCode>
                <c:ptCount val="4"/>
                <c:pt idx="0">
                  <c:v>21.119</c:v>
                </c:pt>
                <c:pt idx="1">
                  <c:v>17.745999999999999</c:v>
                </c:pt>
                <c:pt idx="2">
                  <c:v>14.548999999999999</c:v>
                </c:pt>
                <c:pt idx="3">
                  <c:v>13.65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97E-418D-9CA3-1BCD98F71637}"/>
            </c:ext>
          </c:extLst>
        </c:ser>
        <c:ser>
          <c:idx val="0"/>
          <c:order val="2"/>
          <c:tx>
            <c:strRef>
              <c:f>'GDP_$_ppp'!$I$2</c:f>
              <c:strCache>
                <c:ptCount val="1"/>
                <c:pt idx="0">
                  <c:v>Emerg. Mark. and dev. econ.</c:v>
                </c:pt>
              </c:strCache>
            </c:strRef>
          </c:tx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>
                    <a:solidFill>
                      <a:srgbClr val="0070C0"/>
                    </a:solidFill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'GDP_$_ppp'!$A$62:$A$65</c:f>
              <c:numCache>
                <c:formatCode>General</c:formatCode>
                <c:ptCount val="4"/>
                <c:pt idx="0">
                  <c:v>1995</c:v>
                </c:pt>
                <c:pt idx="1">
                  <c:v>2007</c:v>
                </c:pt>
                <c:pt idx="2">
                  <c:v>2023</c:v>
                </c:pt>
                <c:pt idx="3">
                  <c:v>2028</c:v>
                </c:pt>
              </c:numCache>
            </c:numRef>
          </c:cat>
          <c:val>
            <c:numRef>
              <c:f>'GDP_$_ppp'!$I$62:$I$65</c:f>
              <c:numCache>
                <c:formatCode>0</c:formatCode>
                <c:ptCount val="4"/>
                <c:pt idx="0">
                  <c:v>42.295999999999999</c:v>
                </c:pt>
                <c:pt idx="1">
                  <c:v>50.037999999999997</c:v>
                </c:pt>
                <c:pt idx="2">
                  <c:v>58.853000000000002</c:v>
                </c:pt>
                <c:pt idx="3">
                  <c:v>61.4859999999999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D97E-418D-9CA3-1BCD98F7163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346339887"/>
        <c:axId val="1448222335"/>
      </c:barChart>
      <c:catAx>
        <c:axId val="346339887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/>
            </a:pPr>
            <a:endParaRPr lang="en-US"/>
          </a:p>
        </c:txPr>
        <c:crossAx val="1448222335"/>
        <c:crosses val="autoZero"/>
        <c:auto val="1"/>
        <c:lblAlgn val="ctr"/>
        <c:lblOffset val="100"/>
        <c:noMultiLvlLbl val="0"/>
      </c:catAx>
      <c:valAx>
        <c:axId val="1448222335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" sourceLinked="0"/>
        <c:majorTickMark val="out"/>
        <c:minorTickMark val="none"/>
        <c:tickLblPos val="nextTo"/>
        <c:spPr>
          <a:noFill/>
          <a:ln>
            <a:solidFill>
              <a:srgbClr val="002060"/>
            </a:solidFill>
          </a:ln>
          <a:effectLst/>
        </c:spPr>
        <c:txPr>
          <a:bodyPr rot="-60000000" vert="horz"/>
          <a:lstStyle/>
          <a:p>
            <a:pPr>
              <a:defRPr/>
            </a:pPr>
            <a:endParaRPr lang="en-US"/>
          </a:p>
        </c:txPr>
        <c:crossAx val="346339887"/>
        <c:crosses val="autoZero"/>
        <c:crossBetween val="between"/>
      </c:valAx>
    </c:plotArea>
    <c:legend>
      <c:legendPos val="t"/>
      <c:layout>
        <c:manualLayout>
          <c:xMode val="edge"/>
          <c:yMode val="edge"/>
          <c:x val="8.215639711702704E-3"/>
          <c:y val="1.8935185185185201E-2"/>
          <c:w val="0.97148775153105837"/>
          <c:h val="7.7770261479333053E-2"/>
        </c:manualLayout>
      </c:layout>
      <c:overlay val="0"/>
      <c:txPr>
        <a:bodyPr/>
        <a:lstStyle/>
        <a:p>
          <a:pPr>
            <a:defRPr sz="2000"/>
          </a:pPr>
          <a:endParaRPr lang="en-US"/>
        </a:p>
      </c:txPr>
    </c:legend>
    <c:plotVisOnly val="1"/>
    <c:dispBlanksAs val="gap"/>
    <c:showDLblsOverMax val="0"/>
    <c:extLst/>
  </c:chart>
  <c:spPr>
    <a:ln>
      <a:solidFill>
        <a:srgbClr val="000000"/>
      </a:solidFill>
    </a:ln>
  </c:spPr>
  <c:txPr>
    <a:bodyPr/>
    <a:lstStyle/>
    <a:p>
      <a:pPr>
        <a:defRPr sz="1800" b="1">
          <a:solidFill>
            <a:schemeClr val="tx1"/>
          </a:solidFill>
        </a:defRPr>
      </a:pPr>
      <a:endParaRPr lang="en-US"/>
    </a:p>
  </c:txPr>
  <c:externalData r:id="rId2">
    <c:autoUpdate val="0"/>
  </c:externalData>
  <c:userShapes r:id="rId3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00700140941913E-2"/>
          <c:y val="0.14108349564126896"/>
          <c:w val="0.91265905077792164"/>
          <c:h val="0.75151714915128209"/>
        </c:manualLayout>
      </c:layout>
      <c:barChart>
        <c:barDir val="col"/>
        <c:grouping val="clustered"/>
        <c:varyColors val="0"/>
        <c:ser>
          <c:idx val="2"/>
          <c:order val="0"/>
          <c:tx>
            <c:strRef>
              <c:f>'GDP_$_ppp'!$J$2</c:f>
              <c:strCache>
                <c:ptCount val="1"/>
                <c:pt idx="0">
                  <c:v>Emer. &amp; dev. Asia</c:v>
                </c:pt>
              </c:strCache>
            </c:strRef>
          </c:tx>
          <c:spPr>
            <a:solidFill>
              <a:srgbClr val="FFC000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>
                    <a:solidFill>
                      <a:srgbClr val="FFC000"/>
                    </a:solidFill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'GDP_$_ppp'!$A$62:$A$65</c:f>
              <c:numCache>
                <c:formatCode>General</c:formatCode>
                <c:ptCount val="4"/>
                <c:pt idx="0">
                  <c:v>1995</c:v>
                </c:pt>
                <c:pt idx="1">
                  <c:v>2007</c:v>
                </c:pt>
                <c:pt idx="2">
                  <c:v>2023</c:v>
                </c:pt>
                <c:pt idx="3">
                  <c:v>2028</c:v>
                </c:pt>
              </c:numCache>
            </c:numRef>
          </c:cat>
          <c:val>
            <c:numRef>
              <c:f>'GDP_$_ppp'!$J$62:$J$65</c:f>
              <c:numCache>
                <c:formatCode>0</c:formatCode>
                <c:ptCount val="4"/>
                <c:pt idx="0">
                  <c:v>14.872999999999999</c:v>
                </c:pt>
                <c:pt idx="1">
                  <c:v>21.760999999999999</c:v>
                </c:pt>
                <c:pt idx="2">
                  <c:v>33.470999999999997</c:v>
                </c:pt>
                <c:pt idx="3">
                  <c:v>36.1989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AC5-4982-BED3-09067343F9AC}"/>
            </c:ext>
          </c:extLst>
        </c:ser>
        <c:ser>
          <c:idx val="4"/>
          <c:order val="1"/>
          <c:tx>
            <c:strRef>
              <c:f>'GDP_$_ppp'!$K$2</c:f>
              <c:strCache>
                <c:ptCount val="1"/>
                <c:pt idx="0">
                  <c:v>Emer. &amp; dev. Europe</c:v>
                </c:pt>
              </c:strCache>
            </c:strRef>
          </c:tx>
          <c:spPr>
            <a:solidFill>
              <a:srgbClr val="00B0F0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>
                    <a:solidFill>
                      <a:srgbClr val="00B0F0"/>
                    </a:solidFill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'GDP_$_ppp'!$A$62:$A$65</c:f>
              <c:numCache>
                <c:formatCode>General</c:formatCode>
                <c:ptCount val="4"/>
                <c:pt idx="0">
                  <c:v>1995</c:v>
                </c:pt>
                <c:pt idx="1">
                  <c:v>2007</c:v>
                </c:pt>
                <c:pt idx="2">
                  <c:v>2023</c:v>
                </c:pt>
                <c:pt idx="3">
                  <c:v>2028</c:v>
                </c:pt>
              </c:numCache>
            </c:numRef>
          </c:cat>
          <c:val>
            <c:numRef>
              <c:f>'GDP_$_ppp'!$K$62:$K$65</c:f>
              <c:numCache>
                <c:formatCode>0</c:formatCode>
                <c:ptCount val="4"/>
                <c:pt idx="0">
                  <c:v>7.2380000000000004</c:v>
                </c:pt>
                <c:pt idx="1">
                  <c:v>7.7030000000000003</c:v>
                </c:pt>
                <c:pt idx="2">
                  <c:v>7.3949999999999996</c:v>
                </c:pt>
                <c:pt idx="3">
                  <c:v>7.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AC5-4982-BED3-09067343F9AC}"/>
            </c:ext>
          </c:extLst>
        </c:ser>
        <c:ser>
          <c:idx val="5"/>
          <c:order val="2"/>
          <c:tx>
            <c:strRef>
              <c:f>'GDP_$_ppp'!$L$2</c:f>
              <c:strCache>
                <c:ptCount val="1"/>
                <c:pt idx="0">
                  <c:v>Latin Amer.&amp; the Caribbean</c:v>
                </c:pt>
              </c:strCache>
            </c:strRef>
          </c:tx>
          <c:spPr>
            <a:solidFill>
              <a:srgbClr val="92D050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>
                    <a:solidFill>
                      <a:srgbClr val="92D050"/>
                    </a:solidFill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'GDP_$_ppp'!$A$62:$A$65</c:f>
              <c:numCache>
                <c:formatCode>General</c:formatCode>
                <c:ptCount val="4"/>
                <c:pt idx="0">
                  <c:v>1995</c:v>
                </c:pt>
                <c:pt idx="1">
                  <c:v>2007</c:v>
                </c:pt>
                <c:pt idx="2">
                  <c:v>2023</c:v>
                </c:pt>
                <c:pt idx="3">
                  <c:v>2028</c:v>
                </c:pt>
              </c:numCache>
            </c:numRef>
          </c:cat>
          <c:val>
            <c:numRef>
              <c:f>'GDP_$_ppp'!$L$62:$L$65</c:f>
              <c:numCache>
                <c:formatCode>0</c:formatCode>
                <c:ptCount val="4"/>
                <c:pt idx="0">
                  <c:v>9.6020000000000003</c:v>
                </c:pt>
                <c:pt idx="1">
                  <c:v>8.7330000000000005</c:v>
                </c:pt>
                <c:pt idx="2">
                  <c:v>7.3310000000000004</c:v>
                </c:pt>
                <c:pt idx="3">
                  <c:v>7.10200000000000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DAC5-4982-BED3-09067343F9AC}"/>
            </c:ext>
          </c:extLst>
        </c:ser>
        <c:ser>
          <c:idx val="1"/>
          <c:order val="3"/>
          <c:tx>
            <c:strRef>
              <c:f>'GDP_$_ppp'!$M$2</c:f>
              <c:strCache>
                <c:ptCount val="1"/>
                <c:pt idx="0">
                  <c:v>Middle East &amp; Cent. Asia</c:v>
                </c:pt>
              </c:strCache>
            </c:strRef>
          </c:tx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>
                    <a:solidFill>
                      <a:srgbClr val="C00000"/>
                    </a:solidFill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'GDP_$_ppp'!$A$62:$A$65</c:f>
              <c:numCache>
                <c:formatCode>General</c:formatCode>
                <c:ptCount val="4"/>
                <c:pt idx="0">
                  <c:v>1995</c:v>
                </c:pt>
                <c:pt idx="1">
                  <c:v>2007</c:v>
                </c:pt>
                <c:pt idx="2">
                  <c:v>2023</c:v>
                </c:pt>
                <c:pt idx="3">
                  <c:v>2028</c:v>
                </c:pt>
              </c:numCache>
            </c:numRef>
          </c:cat>
          <c:val>
            <c:numRef>
              <c:f>'GDP_$_ppp'!$M$62:$M$65</c:f>
              <c:numCache>
                <c:formatCode>0</c:formatCode>
                <c:ptCount val="4"/>
                <c:pt idx="0">
                  <c:v>8.048</c:v>
                </c:pt>
                <c:pt idx="1">
                  <c:v>9.0410000000000004</c:v>
                </c:pt>
                <c:pt idx="2">
                  <c:v>7.51</c:v>
                </c:pt>
                <c:pt idx="3">
                  <c:v>7.729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DAC5-4982-BED3-09067343F9AC}"/>
            </c:ext>
          </c:extLst>
        </c:ser>
        <c:ser>
          <c:idx val="0"/>
          <c:order val="4"/>
          <c:tx>
            <c:strRef>
              <c:f>'GDP_$_ppp'!$N$2</c:f>
              <c:strCache>
                <c:ptCount val="1"/>
                <c:pt idx="0">
                  <c:v>Sub-Saharan Africa</c:v>
                </c:pt>
              </c:strCache>
            </c:strRef>
          </c:tx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>
                    <a:solidFill>
                      <a:srgbClr val="0070C0"/>
                    </a:solidFill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'GDP_$_ppp'!$A$62:$A$65</c:f>
              <c:numCache>
                <c:formatCode>General</c:formatCode>
                <c:ptCount val="4"/>
                <c:pt idx="0">
                  <c:v>1995</c:v>
                </c:pt>
                <c:pt idx="1">
                  <c:v>2007</c:v>
                </c:pt>
                <c:pt idx="2">
                  <c:v>2023</c:v>
                </c:pt>
                <c:pt idx="3">
                  <c:v>2028</c:v>
                </c:pt>
              </c:numCache>
            </c:numRef>
          </c:cat>
          <c:val>
            <c:numRef>
              <c:f>'GDP_$_ppp'!$N$62:$N$65</c:f>
              <c:numCache>
                <c:formatCode>0</c:formatCode>
                <c:ptCount val="4"/>
                <c:pt idx="0">
                  <c:v>2.5350000000000001</c:v>
                </c:pt>
                <c:pt idx="1">
                  <c:v>2.8</c:v>
                </c:pt>
                <c:pt idx="2">
                  <c:v>3.1459999999999999</c:v>
                </c:pt>
                <c:pt idx="3">
                  <c:v>3.306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DAC5-4982-BED3-09067343F9A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346339887"/>
        <c:axId val="1448222335"/>
      </c:barChart>
      <c:catAx>
        <c:axId val="346339887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/>
            </a:pPr>
            <a:endParaRPr lang="en-US"/>
          </a:p>
        </c:txPr>
        <c:crossAx val="1448222335"/>
        <c:crosses val="autoZero"/>
        <c:auto val="1"/>
        <c:lblAlgn val="ctr"/>
        <c:lblOffset val="100"/>
        <c:noMultiLvlLbl val="0"/>
      </c:catAx>
      <c:valAx>
        <c:axId val="1448222335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" sourceLinked="0"/>
        <c:majorTickMark val="out"/>
        <c:minorTickMark val="none"/>
        <c:tickLblPos val="nextTo"/>
        <c:spPr>
          <a:noFill/>
          <a:ln>
            <a:solidFill>
              <a:srgbClr val="002060"/>
            </a:solidFill>
          </a:ln>
          <a:effectLst/>
        </c:spPr>
        <c:txPr>
          <a:bodyPr rot="-60000000" vert="horz"/>
          <a:lstStyle/>
          <a:p>
            <a:pPr>
              <a:defRPr/>
            </a:pPr>
            <a:endParaRPr lang="en-US"/>
          </a:p>
        </c:txPr>
        <c:crossAx val="346339887"/>
        <c:crosses val="autoZero"/>
        <c:crossBetween val="between"/>
      </c:valAx>
    </c:plotArea>
    <c:legend>
      <c:legendPos val="t"/>
      <c:layout>
        <c:manualLayout>
          <c:xMode val="edge"/>
          <c:yMode val="edge"/>
          <c:x val="8.215639711702704E-3"/>
          <c:y val="1.8935185185185201E-2"/>
          <c:w val="0.97148775153105837"/>
          <c:h val="0.11496135899679205"/>
        </c:manualLayout>
      </c:layout>
      <c:overlay val="0"/>
    </c:legend>
    <c:plotVisOnly val="1"/>
    <c:dispBlanksAs val="gap"/>
    <c:showDLblsOverMax val="0"/>
    <c:extLst/>
  </c:chart>
  <c:spPr>
    <a:ln>
      <a:solidFill>
        <a:srgbClr val="000000"/>
      </a:solidFill>
    </a:ln>
  </c:spPr>
  <c:txPr>
    <a:bodyPr/>
    <a:lstStyle/>
    <a:p>
      <a:pPr>
        <a:defRPr sz="1600" b="1">
          <a:solidFill>
            <a:schemeClr val="tx1"/>
          </a:solidFill>
        </a:defRPr>
      </a:pPr>
      <a:endParaRPr lang="en-US"/>
    </a:p>
  </c:txPr>
  <c:externalData r:id="rId2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0626325910241597E-2"/>
          <c:y val="0.1326351748394457"/>
          <c:w val="0.91703971829245157"/>
          <c:h val="0.75996537209468606"/>
        </c:manualLayout>
      </c:layout>
      <c:barChart>
        <c:barDir val="col"/>
        <c:grouping val="clustered"/>
        <c:varyColors val="0"/>
        <c:ser>
          <c:idx val="2"/>
          <c:order val="0"/>
          <c:tx>
            <c:strRef>
              <c:f>invGDP!$B$2</c:f>
              <c:strCache>
                <c:ptCount val="1"/>
                <c:pt idx="0">
                  <c:v>World</c:v>
                </c:pt>
              </c:strCache>
            </c:strRef>
          </c:tx>
          <c:spPr>
            <a:solidFill>
              <a:schemeClr val="bg2">
                <a:lumMod val="75000"/>
              </a:schemeClr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invGDP!$A$57:$A$61</c:f>
              <c:strCache>
                <c:ptCount val="5"/>
                <c:pt idx="0">
                  <c:v>1990s</c:v>
                </c:pt>
                <c:pt idx="1">
                  <c:v>2000s</c:v>
                </c:pt>
                <c:pt idx="2">
                  <c:v>2010s</c:v>
                </c:pt>
                <c:pt idx="3">
                  <c:v>2020-23</c:v>
                </c:pt>
                <c:pt idx="4">
                  <c:v>2024-28</c:v>
                </c:pt>
              </c:strCache>
            </c:strRef>
          </c:cat>
          <c:val>
            <c:numRef>
              <c:f>invGDP!$B$57:$B$61</c:f>
              <c:numCache>
                <c:formatCode>0.0</c:formatCode>
                <c:ptCount val="5"/>
                <c:pt idx="0">
                  <c:v>24.051625000000001</c:v>
                </c:pt>
                <c:pt idx="1">
                  <c:v>24.048300000000001</c:v>
                </c:pt>
                <c:pt idx="2">
                  <c:v>25.6493</c:v>
                </c:pt>
                <c:pt idx="3">
                  <c:v>26.785500000000003</c:v>
                </c:pt>
                <c:pt idx="4">
                  <c:v>26.4098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EA3-42FC-86F9-ED31999DB1DA}"/>
            </c:ext>
          </c:extLst>
        </c:ser>
        <c:ser>
          <c:idx val="3"/>
          <c:order val="1"/>
          <c:tx>
            <c:strRef>
              <c:f>invGDP!$E$2</c:f>
              <c:strCache>
                <c:ptCount val="1"/>
                <c:pt idx="0">
                  <c:v>G7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>
                    <a:solidFill>
                      <a:srgbClr val="C00000"/>
                    </a:solidFill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invGDP!$A$57:$A$61</c:f>
              <c:strCache>
                <c:ptCount val="5"/>
                <c:pt idx="0">
                  <c:v>1990s</c:v>
                </c:pt>
                <c:pt idx="1">
                  <c:v>2000s</c:v>
                </c:pt>
                <c:pt idx="2">
                  <c:v>2010s</c:v>
                </c:pt>
                <c:pt idx="3">
                  <c:v>2020-23</c:v>
                </c:pt>
                <c:pt idx="4">
                  <c:v>2024-28</c:v>
                </c:pt>
              </c:strCache>
            </c:strRef>
          </c:cat>
          <c:val>
            <c:numRef>
              <c:f>invGDP!$E$57:$E$61</c:f>
              <c:numCache>
                <c:formatCode>0.0</c:formatCode>
                <c:ptCount val="5"/>
                <c:pt idx="0">
                  <c:v>23.718250000000001</c:v>
                </c:pt>
                <c:pt idx="1">
                  <c:v>22.2485</c:v>
                </c:pt>
                <c:pt idx="2">
                  <c:v>21.031199999999998</c:v>
                </c:pt>
                <c:pt idx="3">
                  <c:v>21.974250000000001</c:v>
                </c:pt>
                <c:pt idx="4">
                  <c:v>21.6116000000000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EA3-42FC-86F9-ED31999DB1DA}"/>
            </c:ext>
          </c:extLst>
        </c:ser>
        <c:ser>
          <c:idx val="0"/>
          <c:order val="2"/>
          <c:tx>
            <c:strRef>
              <c:f>invGDP!$I$2</c:f>
              <c:strCache>
                <c:ptCount val="1"/>
                <c:pt idx="0">
                  <c:v>Emerg. Mark. and dev. econ.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>
                    <a:solidFill>
                      <a:srgbClr val="0070C0"/>
                    </a:solidFill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invGDP!$A$57:$A$61</c:f>
              <c:strCache>
                <c:ptCount val="5"/>
                <c:pt idx="0">
                  <c:v>1990s</c:v>
                </c:pt>
                <c:pt idx="1">
                  <c:v>2000s</c:v>
                </c:pt>
                <c:pt idx="2">
                  <c:v>2010s</c:v>
                </c:pt>
                <c:pt idx="3">
                  <c:v>2020-23</c:v>
                </c:pt>
                <c:pt idx="4">
                  <c:v>2024-28</c:v>
                </c:pt>
              </c:strCache>
            </c:strRef>
          </c:cat>
          <c:val>
            <c:numRef>
              <c:f>invGDP!$I$57:$I$61</c:f>
              <c:numCache>
                <c:formatCode>0.0</c:formatCode>
                <c:ptCount val="5"/>
                <c:pt idx="0">
                  <c:v>24.043500000000002</c:v>
                </c:pt>
                <c:pt idx="1">
                  <c:v>26.978100000000001</c:v>
                </c:pt>
                <c:pt idx="2">
                  <c:v>31.9985</c:v>
                </c:pt>
                <c:pt idx="3">
                  <c:v>32.749749999999999</c:v>
                </c:pt>
                <c:pt idx="4">
                  <c:v>31.795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EA3-42FC-86F9-ED31999DB1D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346339887"/>
        <c:axId val="1448222335"/>
      </c:barChart>
      <c:catAx>
        <c:axId val="346339887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800"/>
            </a:pPr>
            <a:endParaRPr lang="en-US"/>
          </a:p>
        </c:txPr>
        <c:crossAx val="1448222335"/>
        <c:crosses val="autoZero"/>
        <c:auto val="1"/>
        <c:lblAlgn val="ctr"/>
        <c:lblOffset val="100"/>
        <c:noMultiLvlLbl val="0"/>
      </c:catAx>
      <c:valAx>
        <c:axId val="1448222335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" sourceLinked="0"/>
        <c:majorTickMark val="out"/>
        <c:minorTickMark val="none"/>
        <c:tickLblPos val="nextTo"/>
        <c:spPr>
          <a:noFill/>
          <a:ln>
            <a:solidFill>
              <a:srgbClr val="002060"/>
            </a:solidFill>
          </a:ln>
          <a:effectLst/>
        </c:spPr>
        <c:txPr>
          <a:bodyPr rot="-60000000" vert="horz"/>
          <a:lstStyle/>
          <a:p>
            <a:pPr>
              <a:defRPr sz="1800"/>
            </a:pPr>
            <a:endParaRPr lang="en-US"/>
          </a:p>
        </c:txPr>
        <c:crossAx val="346339887"/>
        <c:crosses val="autoZero"/>
        <c:crossBetween val="between"/>
      </c:valAx>
    </c:plotArea>
    <c:legend>
      <c:legendPos val="t"/>
      <c:layout>
        <c:manualLayout>
          <c:xMode val="edge"/>
          <c:yMode val="edge"/>
          <c:x val="8.215639711702704E-3"/>
          <c:y val="1.8935185185185201E-2"/>
          <c:w val="0.97148775153105837"/>
          <c:h val="7.2604161477101539E-2"/>
        </c:manualLayout>
      </c:layout>
      <c:overlay val="0"/>
      <c:txPr>
        <a:bodyPr/>
        <a:lstStyle/>
        <a:p>
          <a:pPr>
            <a:defRPr sz="2000"/>
          </a:pPr>
          <a:endParaRPr lang="en-US"/>
        </a:p>
      </c:txPr>
    </c:legend>
    <c:plotVisOnly val="1"/>
    <c:dispBlanksAs val="gap"/>
    <c:showDLblsOverMax val="0"/>
    <c:extLst/>
  </c:chart>
  <c:spPr>
    <a:ln>
      <a:solidFill>
        <a:srgbClr val="000000"/>
      </a:solidFill>
    </a:ln>
  </c:spPr>
  <c:txPr>
    <a:bodyPr/>
    <a:lstStyle/>
    <a:p>
      <a:pPr>
        <a:defRPr sz="1600" b="1">
          <a:solidFill>
            <a:schemeClr val="tx1"/>
          </a:solidFill>
        </a:defRPr>
      </a:pPr>
      <a:endParaRPr lang="en-US"/>
    </a:p>
  </c:txPr>
  <c:externalData r:id="rId2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1102380883273547E-2"/>
          <c:y val="9.5733510079759332E-2"/>
          <c:w val="0.94016428571172617"/>
          <c:h val="0.78553145598625529"/>
        </c:manualLayout>
      </c:layout>
      <c:lineChart>
        <c:grouping val="standard"/>
        <c:varyColors val="0"/>
        <c:ser>
          <c:idx val="1"/>
          <c:order val="0"/>
          <c:tx>
            <c:strRef>
              <c:f>enf!$B$2</c:f>
              <c:strCache>
                <c:ptCount val="1"/>
                <c:pt idx="0">
                  <c:v>World</c:v>
                </c:pt>
              </c:strCache>
            </c:strRef>
          </c:tx>
          <c:spPr>
            <a:ln w="44450">
              <a:solidFill>
                <a:srgbClr val="FFFFFF">
                  <a:lumMod val="50000"/>
                </a:srgbClr>
              </a:solidFill>
            </a:ln>
          </c:spPr>
          <c:marker>
            <c:symbol val="none"/>
          </c:marker>
          <c:cat>
            <c:numRef>
              <c:f>enf!$A$19:$A$51</c:f>
              <c:numCache>
                <c:formatCode>General</c:formatCode>
                <c:ptCount val="33"/>
                <c:pt idx="0">
                  <c:v>1996</c:v>
                </c:pt>
                <c:pt idx="1">
                  <c:v>1997</c:v>
                </c:pt>
                <c:pt idx="2">
                  <c:v>1998</c:v>
                </c:pt>
                <c:pt idx="3">
                  <c:v>1999</c:v>
                </c:pt>
                <c:pt idx="4">
                  <c:v>2000</c:v>
                </c:pt>
                <c:pt idx="5">
                  <c:v>2001</c:v>
                </c:pt>
                <c:pt idx="6">
                  <c:v>2002</c:v>
                </c:pt>
                <c:pt idx="7">
                  <c:v>2003</c:v>
                </c:pt>
                <c:pt idx="8">
                  <c:v>2004</c:v>
                </c:pt>
                <c:pt idx="9">
                  <c:v>2005</c:v>
                </c:pt>
                <c:pt idx="10">
                  <c:v>2006</c:v>
                </c:pt>
                <c:pt idx="11">
                  <c:v>2007</c:v>
                </c:pt>
                <c:pt idx="12">
                  <c:v>2008</c:v>
                </c:pt>
                <c:pt idx="13">
                  <c:v>2009</c:v>
                </c:pt>
                <c:pt idx="14">
                  <c:v>2010</c:v>
                </c:pt>
                <c:pt idx="15">
                  <c:v>2011</c:v>
                </c:pt>
                <c:pt idx="16">
                  <c:v>2012</c:v>
                </c:pt>
                <c:pt idx="17">
                  <c:v>2013</c:v>
                </c:pt>
                <c:pt idx="18">
                  <c:v>2014</c:v>
                </c:pt>
                <c:pt idx="19">
                  <c:v>2015</c:v>
                </c:pt>
                <c:pt idx="20">
                  <c:v>2016</c:v>
                </c:pt>
                <c:pt idx="21">
                  <c:v>2017</c:v>
                </c:pt>
                <c:pt idx="22">
                  <c:v>2018</c:v>
                </c:pt>
                <c:pt idx="23">
                  <c:v>2019</c:v>
                </c:pt>
                <c:pt idx="24">
                  <c:v>2020</c:v>
                </c:pt>
                <c:pt idx="25">
                  <c:v>2021</c:v>
                </c:pt>
                <c:pt idx="26">
                  <c:v>2022</c:v>
                </c:pt>
                <c:pt idx="27">
                  <c:v>2023</c:v>
                </c:pt>
                <c:pt idx="28">
                  <c:v>2024</c:v>
                </c:pt>
                <c:pt idx="29">
                  <c:v>2025</c:v>
                </c:pt>
                <c:pt idx="30">
                  <c:v>2026</c:v>
                </c:pt>
                <c:pt idx="31">
                  <c:v>2027</c:v>
                </c:pt>
                <c:pt idx="32">
                  <c:v>2028</c:v>
                </c:pt>
              </c:numCache>
            </c:numRef>
          </c:cat>
          <c:val>
            <c:numRef>
              <c:f>enf!$B$19:$B$51</c:f>
              <c:numCache>
                <c:formatCode>0.0</c:formatCode>
                <c:ptCount val="33"/>
                <c:pt idx="0">
                  <c:v>9.3889999999999993</c:v>
                </c:pt>
                <c:pt idx="1">
                  <c:v>6.5590000000000002</c:v>
                </c:pt>
                <c:pt idx="2">
                  <c:v>6.3550000000000004</c:v>
                </c:pt>
                <c:pt idx="3">
                  <c:v>6.2240000000000002</c:v>
                </c:pt>
                <c:pt idx="4">
                  <c:v>4.8609999999999998</c:v>
                </c:pt>
                <c:pt idx="5">
                  <c:v>4.58</c:v>
                </c:pt>
                <c:pt idx="6">
                  <c:v>3.6829999999999998</c:v>
                </c:pt>
                <c:pt idx="7">
                  <c:v>3.8929999999999998</c:v>
                </c:pt>
                <c:pt idx="8">
                  <c:v>3.8039999999999998</c:v>
                </c:pt>
                <c:pt idx="9">
                  <c:v>4.032</c:v>
                </c:pt>
                <c:pt idx="10">
                  <c:v>4.056</c:v>
                </c:pt>
                <c:pt idx="11">
                  <c:v>4.2930000000000001</c:v>
                </c:pt>
                <c:pt idx="12">
                  <c:v>6.3620000000000001</c:v>
                </c:pt>
                <c:pt idx="13">
                  <c:v>2.72</c:v>
                </c:pt>
                <c:pt idx="14">
                  <c:v>3.694</c:v>
                </c:pt>
                <c:pt idx="15">
                  <c:v>5.0709999999999997</c:v>
                </c:pt>
                <c:pt idx="16">
                  <c:v>4.0810000000000004</c:v>
                </c:pt>
                <c:pt idx="17">
                  <c:v>3.617</c:v>
                </c:pt>
                <c:pt idx="18">
                  <c:v>3.2280000000000002</c:v>
                </c:pt>
                <c:pt idx="19">
                  <c:v>2.7480000000000002</c:v>
                </c:pt>
                <c:pt idx="20">
                  <c:v>2.7440000000000002</c:v>
                </c:pt>
                <c:pt idx="21">
                  <c:v>3.2429999999999999</c:v>
                </c:pt>
                <c:pt idx="22">
                  <c:v>3.617</c:v>
                </c:pt>
                <c:pt idx="23">
                  <c:v>3.5070000000000001</c:v>
                </c:pt>
                <c:pt idx="24">
                  <c:v>3.2469999999999999</c:v>
                </c:pt>
                <c:pt idx="25">
                  <c:v>4.6970000000000001</c:v>
                </c:pt>
                <c:pt idx="26">
                  <c:v>8.7119999999999997</c:v>
                </c:pt>
                <c:pt idx="27">
                  <c:v>6.8760000000000003</c:v>
                </c:pt>
                <c:pt idx="28">
                  <c:v>5.7939999999999996</c:v>
                </c:pt>
                <c:pt idx="29">
                  <c:v>4.6189999999999998</c:v>
                </c:pt>
                <c:pt idx="30">
                  <c:v>4.226</c:v>
                </c:pt>
                <c:pt idx="31">
                  <c:v>3.94</c:v>
                </c:pt>
                <c:pt idx="32">
                  <c:v>3.82900000000000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C6C4-43D3-A142-08FA14C134D5}"/>
            </c:ext>
          </c:extLst>
        </c:ser>
        <c:ser>
          <c:idx val="0"/>
          <c:order val="1"/>
          <c:tx>
            <c:strRef>
              <c:f>enf!$F$2</c:f>
              <c:strCache>
                <c:ptCount val="1"/>
                <c:pt idx="0">
                  <c:v>G7</c:v>
                </c:pt>
              </c:strCache>
            </c:strRef>
          </c:tx>
          <c:spPr>
            <a:ln w="44450">
              <a:solidFill>
                <a:srgbClr val="E2AC00"/>
              </a:solidFill>
              <a:prstDash val="sysDash"/>
            </a:ln>
          </c:spPr>
          <c:marker>
            <c:symbol val="none"/>
          </c:marker>
          <c:cat>
            <c:numRef>
              <c:f>enf!$A$19:$A$51</c:f>
              <c:numCache>
                <c:formatCode>General</c:formatCode>
                <c:ptCount val="33"/>
                <c:pt idx="0">
                  <c:v>1996</c:v>
                </c:pt>
                <c:pt idx="1">
                  <c:v>1997</c:v>
                </c:pt>
                <c:pt idx="2">
                  <c:v>1998</c:v>
                </c:pt>
                <c:pt idx="3">
                  <c:v>1999</c:v>
                </c:pt>
                <c:pt idx="4">
                  <c:v>2000</c:v>
                </c:pt>
                <c:pt idx="5">
                  <c:v>2001</c:v>
                </c:pt>
                <c:pt idx="6">
                  <c:v>2002</c:v>
                </c:pt>
                <c:pt idx="7">
                  <c:v>2003</c:v>
                </c:pt>
                <c:pt idx="8">
                  <c:v>2004</c:v>
                </c:pt>
                <c:pt idx="9">
                  <c:v>2005</c:v>
                </c:pt>
                <c:pt idx="10">
                  <c:v>2006</c:v>
                </c:pt>
                <c:pt idx="11">
                  <c:v>2007</c:v>
                </c:pt>
                <c:pt idx="12">
                  <c:v>2008</c:v>
                </c:pt>
                <c:pt idx="13">
                  <c:v>2009</c:v>
                </c:pt>
                <c:pt idx="14">
                  <c:v>2010</c:v>
                </c:pt>
                <c:pt idx="15">
                  <c:v>2011</c:v>
                </c:pt>
                <c:pt idx="16">
                  <c:v>2012</c:v>
                </c:pt>
                <c:pt idx="17">
                  <c:v>2013</c:v>
                </c:pt>
                <c:pt idx="18">
                  <c:v>2014</c:v>
                </c:pt>
                <c:pt idx="19">
                  <c:v>2015</c:v>
                </c:pt>
                <c:pt idx="20">
                  <c:v>2016</c:v>
                </c:pt>
                <c:pt idx="21">
                  <c:v>2017</c:v>
                </c:pt>
                <c:pt idx="22">
                  <c:v>2018</c:v>
                </c:pt>
                <c:pt idx="23">
                  <c:v>2019</c:v>
                </c:pt>
                <c:pt idx="24">
                  <c:v>2020</c:v>
                </c:pt>
                <c:pt idx="25">
                  <c:v>2021</c:v>
                </c:pt>
                <c:pt idx="26">
                  <c:v>2022</c:v>
                </c:pt>
                <c:pt idx="27">
                  <c:v>2023</c:v>
                </c:pt>
                <c:pt idx="28">
                  <c:v>2024</c:v>
                </c:pt>
                <c:pt idx="29">
                  <c:v>2025</c:v>
                </c:pt>
                <c:pt idx="30">
                  <c:v>2026</c:v>
                </c:pt>
                <c:pt idx="31">
                  <c:v>2027</c:v>
                </c:pt>
                <c:pt idx="32">
                  <c:v>2028</c:v>
                </c:pt>
              </c:numCache>
            </c:numRef>
          </c:cat>
          <c:val>
            <c:numRef>
              <c:f>enf!$F$19:$F$51</c:f>
              <c:numCache>
                <c:formatCode>0.0</c:formatCode>
                <c:ptCount val="33"/>
                <c:pt idx="0">
                  <c:v>2.1819999999999999</c:v>
                </c:pt>
                <c:pt idx="1">
                  <c:v>1.95</c:v>
                </c:pt>
                <c:pt idx="2">
                  <c:v>1.2430000000000001</c:v>
                </c:pt>
                <c:pt idx="3">
                  <c:v>1.3720000000000001</c:v>
                </c:pt>
                <c:pt idx="4">
                  <c:v>2.12</c:v>
                </c:pt>
                <c:pt idx="5">
                  <c:v>1.92</c:v>
                </c:pt>
                <c:pt idx="6">
                  <c:v>1.286</c:v>
                </c:pt>
                <c:pt idx="7">
                  <c:v>1.7509999999999999</c:v>
                </c:pt>
                <c:pt idx="8">
                  <c:v>1.976</c:v>
                </c:pt>
                <c:pt idx="9">
                  <c:v>2.3199999999999998</c:v>
                </c:pt>
                <c:pt idx="10">
                  <c:v>2.3359999999999999</c:v>
                </c:pt>
                <c:pt idx="11">
                  <c:v>2.157</c:v>
                </c:pt>
                <c:pt idx="12">
                  <c:v>3.1920000000000002</c:v>
                </c:pt>
                <c:pt idx="13">
                  <c:v>-8.8999999999999996E-2</c:v>
                </c:pt>
                <c:pt idx="14">
                  <c:v>1.369</c:v>
                </c:pt>
                <c:pt idx="15">
                  <c:v>2.5840000000000001</c:v>
                </c:pt>
                <c:pt idx="16">
                  <c:v>1.8979999999999999</c:v>
                </c:pt>
                <c:pt idx="17">
                  <c:v>1.323</c:v>
                </c:pt>
                <c:pt idx="18">
                  <c:v>1.528</c:v>
                </c:pt>
                <c:pt idx="19">
                  <c:v>0.311</c:v>
                </c:pt>
                <c:pt idx="20">
                  <c:v>0.78300000000000003</c:v>
                </c:pt>
                <c:pt idx="21">
                  <c:v>1.7589999999999999</c:v>
                </c:pt>
                <c:pt idx="22">
                  <c:v>2.0870000000000002</c:v>
                </c:pt>
                <c:pt idx="23">
                  <c:v>1.4810000000000001</c:v>
                </c:pt>
                <c:pt idx="24">
                  <c:v>0.8</c:v>
                </c:pt>
                <c:pt idx="25">
                  <c:v>3.3359999999999999</c:v>
                </c:pt>
                <c:pt idx="26">
                  <c:v>7.2990000000000004</c:v>
                </c:pt>
                <c:pt idx="27">
                  <c:v>4.6879999999999997</c:v>
                </c:pt>
                <c:pt idx="28">
                  <c:v>2.8759999999999999</c:v>
                </c:pt>
                <c:pt idx="29">
                  <c:v>2.2450000000000001</c:v>
                </c:pt>
                <c:pt idx="30">
                  <c:v>2.0409999999999999</c:v>
                </c:pt>
                <c:pt idx="31">
                  <c:v>1.9690000000000001</c:v>
                </c:pt>
                <c:pt idx="32">
                  <c:v>1.99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6C4-43D3-A142-08FA14C134D5}"/>
            </c:ext>
          </c:extLst>
        </c:ser>
        <c:ser>
          <c:idx val="2"/>
          <c:order val="2"/>
          <c:tx>
            <c:strRef>
              <c:f>enf!$J$2</c:f>
              <c:strCache>
                <c:ptCount val="1"/>
                <c:pt idx="0">
                  <c:v>Emerg. Mark. and dev. econ.</c:v>
                </c:pt>
              </c:strCache>
            </c:strRef>
          </c:tx>
          <c:spPr>
            <a:ln w="44450" cap="rnd">
              <a:solidFill>
                <a:srgbClr val="0070C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enf!$A$19:$A$51</c:f>
              <c:numCache>
                <c:formatCode>General</c:formatCode>
                <c:ptCount val="33"/>
                <c:pt idx="0">
                  <c:v>1996</c:v>
                </c:pt>
                <c:pt idx="1">
                  <c:v>1997</c:v>
                </c:pt>
                <c:pt idx="2">
                  <c:v>1998</c:v>
                </c:pt>
                <c:pt idx="3">
                  <c:v>1999</c:v>
                </c:pt>
                <c:pt idx="4">
                  <c:v>2000</c:v>
                </c:pt>
                <c:pt idx="5">
                  <c:v>2001</c:v>
                </c:pt>
                <c:pt idx="6">
                  <c:v>2002</c:v>
                </c:pt>
                <c:pt idx="7">
                  <c:v>2003</c:v>
                </c:pt>
                <c:pt idx="8">
                  <c:v>2004</c:v>
                </c:pt>
                <c:pt idx="9">
                  <c:v>2005</c:v>
                </c:pt>
                <c:pt idx="10">
                  <c:v>2006</c:v>
                </c:pt>
                <c:pt idx="11">
                  <c:v>2007</c:v>
                </c:pt>
                <c:pt idx="12">
                  <c:v>2008</c:v>
                </c:pt>
                <c:pt idx="13">
                  <c:v>2009</c:v>
                </c:pt>
                <c:pt idx="14">
                  <c:v>2010</c:v>
                </c:pt>
                <c:pt idx="15">
                  <c:v>2011</c:v>
                </c:pt>
                <c:pt idx="16">
                  <c:v>2012</c:v>
                </c:pt>
                <c:pt idx="17">
                  <c:v>2013</c:v>
                </c:pt>
                <c:pt idx="18">
                  <c:v>2014</c:v>
                </c:pt>
                <c:pt idx="19">
                  <c:v>2015</c:v>
                </c:pt>
                <c:pt idx="20">
                  <c:v>2016</c:v>
                </c:pt>
                <c:pt idx="21">
                  <c:v>2017</c:v>
                </c:pt>
                <c:pt idx="22">
                  <c:v>2018</c:v>
                </c:pt>
                <c:pt idx="23">
                  <c:v>2019</c:v>
                </c:pt>
                <c:pt idx="24">
                  <c:v>2020</c:v>
                </c:pt>
                <c:pt idx="25">
                  <c:v>2021</c:v>
                </c:pt>
                <c:pt idx="26">
                  <c:v>2022</c:v>
                </c:pt>
                <c:pt idx="27">
                  <c:v>2023</c:v>
                </c:pt>
                <c:pt idx="28">
                  <c:v>2024</c:v>
                </c:pt>
                <c:pt idx="29">
                  <c:v>2025</c:v>
                </c:pt>
                <c:pt idx="30">
                  <c:v>2026</c:v>
                </c:pt>
                <c:pt idx="31">
                  <c:v>2027</c:v>
                </c:pt>
                <c:pt idx="32">
                  <c:v>2028</c:v>
                </c:pt>
              </c:numCache>
            </c:numRef>
          </c:cat>
          <c:val>
            <c:numRef>
              <c:f>enf!$J$19:$J$51</c:f>
              <c:numCache>
                <c:formatCode>0.0</c:formatCode>
                <c:ptCount val="33"/>
                <c:pt idx="0">
                  <c:v>19.853000000000002</c:v>
                </c:pt>
                <c:pt idx="1">
                  <c:v>13.051</c:v>
                </c:pt>
                <c:pt idx="2">
                  <c:v>13.382</c:v>
                </c:pt>
                <c:pt idx="3">
                  <c:v>13.311</c:v>
                </c:pt>
                <c:pt idx="4">
                  <c:v>8.5530000000000008</c:v>
                </c:pt>
                <c:pt idx="5">
                  <c:v>7.9050000000000002</c:v>
                </c:pt>
                <c:pt idx="6">
                  <c:v>6.5270000000000001</c:v>
                </c:pt>
                <c:pt idx="7">
                  <c:v>6.5030000000000001</c:v>
                </c:pt>
                <c:pt idx="8">
                  <c:v>5.9820000000000002</c:v>
                </c:pt>
                <c:pt idx="9">
                  <c:v>6.0190000000000001</c:v>
                </c:pt>
                <c:pt idx="10">
                  <c:v>5.9420000000000002</c:v>
                </c:pt>
                <c:pt idx="11">
                  <c:v>6.5220000000000002</c:v>
                </c:pt>
                <c:pt idx="12">
                  <c:v>9.3109999999999999</c:v>
                </c:pt>
                <c:pt idx="13">
                  <c:v>5.1340000000000003</c:v>
                </c:pt>
                <c:pt idx="14">
                  <c:v>5.6459999999999999</c:v>
                </c:pt>
                <c:pt idx="15">
                  <c:v>7.1459999999999999</c:v>
                </c:pt>
                <c:pt idx="16">
                  <c:v>5.827</c:v>
                </c:pt>
                <c:pt idx="17">
                  <c:v>5.4569999999999999</c:v>
                </c:pt>
                <c:pt idx="18">
                  <c:v>4.7279999999999998</c:v>
                </c:pt>
                <c:pt idx="19">
                  <c:v>4.7699999999999996</c:v>
                </c:pt>
                <c:pt idx="20">
                  <c:v>4.3890000000000002</c:v>
                </c:pt>
                <c:pt idx="21">
                  <c:v>4.4669999999999996</c:v>
                </c:pt>
                <c:pt idx="22">
                  <c:v>4.9089999999999998</c:v>
                </c:pt>
                <c:pt idx="23">
                  <c:v>5.1239999999999997</c:v>
                </c:pt>
                <c:pt idx="24">
                  <c:v>5.1740000000000004</c:v>
                </c:pt>
                <c:pt idx="25">
                  <c:v>5.8789999999999996</c:v>
                </c:pt>
                <c:pt idx="26">
                  <c:v>9.7720000000000002</c:v>
                </c:pt>
                <c:pt idx="27">
                  <c:v>8.4830000000000005</c:v>
                </c:pt>
                <c:pt idx="28">
                  <c:v>7.7789999999999999</c:v>
                </c:pt>
                <c:pt idx="29">
                  <c:v>6.2380000000000004</c:v>
                </c:pt>
                <c:pt idx="30">
                  <c:v>5.6829999999999998</c:v>
                </c:pt>
                <c:pt idx="31">
                  <c:v>5.2210000000000001</c:v>
                </c:pt>
                <c:pt idx="32">
                  <c:v>5.003999999999999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6C4-43D3-A142-08FA14C134D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599974143"/>
        <c:axId val="1034131599"/>
      </c:lineChart>
      <c:catAx>
        <c:axId val="1599974143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6350" cap="flat" cmpd="sng" algn="ctr">
            <a:solidFill>
              <a:schemeClr val="tx1"/>
            </a:solidFill>
            <a:round/>
          </a:ln>
          <a:effectLst/>
        </c:spPr>
        <c:txPr>
          <a:bodyPr rot="-5400000"/>
          <a:lstStyle/>
          <a:p>
            <a:pPr>
              <a:defRPr sz="1400"/>
            </a:pPr>
            <a:endParaRPr lang="en-US"/>
          </a:p>
        </c:txPr>
        <c:crossAx val="1034131599"/>
        <c:crosses val="autoZero"/>
        <c:auto val="1"/>
        <c:lblAlgn val="ctr"/>
        <c:lblOffset val="100"/>
        <c:noMultiLvlLbl val="0"/>
      </c:catAx>
      <c:valAx>
        <c:axId val="1034131599"/>
        <c:scaling>
          <c:orientation val="minMax"/>
          <c:max val="20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vert="horz"/>
          <a:lstStyle/>
          <a:p>
            <a:pPr>
              <a:defRPr/>
            </a:pPr>
            <a:endParaRPr lang="en-US"/>
          </a:p>
        </c:txPr>
        <c:crossAx val="1599974143"/>
        <c:crosses val="autoZero"/>
        <c:crossBetween val="between"/>
      </c:valAx>
    </c:plotArea>
    <c:legend>
      <c:legendPos val="t"/>
      <c:layout>
        <c:manualLayout>
          <c:xMode val="edge"/>
          <c:yMode val="edge"/>
          <c:x val="2.3851832899927507E-2"/>
          <c:y val="9.1485597856661108E-3"/>
          <c:w val="0.96912433597733993"/>
          <c:h val="8.1505972940970214E-2"/>
        </c:manualLayout>
      </c:layout>
      <c:overlay val="0"/>
      <c:txPr>
        <a:bodyPr/>
        <a:lstStyle/>
        <a:p>
          <a:pPr>
            <a:defRPr sz="2000"/>
          </a:pPr>
          <a:endParaRPr lang="en-US"/>
        </a:p>
      </c:txPr>
    </c:legend>
    <c:plotVisOnly val="1"/>
    <c:dispBlanksAs val="gap"/>
    <c:showDLblsOverMax val="0"/>
    <c:extLst/>
  </c:chart>
  <c:spPr>
    <a:ln>
      <a:solidFill>
        <a:srgbClr val="000000"/>
      </a:solidFill>
    </a:ln>
  </c:spPr>
  <c:txPr>
    <a:bodyPr/>
    <a:lstStyle/>
    <a:p>
      <a:pPr>
        <a:defRPr sz="1800" b="1">
          <a:solidFill>
            <a:schemeClr val="tx1"/>
          </a:solidFill>
        </a:defRPr>
      </a:pPr>
      <a:endParaRPr lang="en-US"/>
    </a:p>
  </c:txPr>
  <c:externalData r:id="rId2">
    <c:autoUpdate val="0"/>
  </c:externalData>
  <c:userShapes r:id="rId3"/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2450631720244105E-2"/>
          <c:y val="9.7837088981919465E-2"/>
          <c:w val="0.94099165548067476"/>
          <c:h val="0.79476355282844913"/>
        </c:manualLayout>
      </c:layout>
      <c:barChart>
        <c:barDir val="col"/>
        <c:grouping val="clustered"/>
        <c:varyColors val="0"/>
        <c:ser>
          <c:idx val="3"/>
          <c:order val="0"/>
          <c:tx>
            <c:strRef>
              <c:f>deficit!$E$2</c:f>
              <c:strCache>
                <c:ptCount val="1"/>
                <c:pt idx="0">
                  <c:v>G7</c:v>
                </c:pt>
              </c:strCache>
            </c:strRef>
          </c:tx>
          <c:spPr>
            <a:solidFill>
              <a:srgbClr val="D46C2C"/>
            </a:solidFill>
            <a:ln>
              <a:noFill/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>
                    <a:solidFill>
                      <a:srgbClr val="C00000"/>
                    </a:solidFill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deficit!$A$58:$A$61</c:f>
              <c:strCache>
                <c:ptCount val="4"/>
                <c:pt idx="0">
                  <c:v>2000s</c:v>
                </c:pt>
                <c:pt idx="1">
                  <c:v>2010s</c:v>
                </c:pt>
                <c:pt idx="2">
                  <c:v>2020-23</c:v>
                </c:pt>
                <c:pt idx="3">
                  <c:v>2024-28</c:v>
                </c:pt>
              </c:strCache>
            </c:strRef>
          </c:cat>
          <c:val>
            <c:numRef>
              <c:f>deficit!$E$58:$E$61</c:f>
              <c:numCache>
                <c:formatCode>0.0</c:formatCode>
                <c:ptCount val="4"/>
                <c:pt idx="0">
                  <c:v>-4.067444444444444</c:v>
                </c:pt>
                <c:pt idx="1">
                  <c:v>-4.7250999999999994</c:v>
                </c:pt>
                <c:pt idx="2">
                  <c:v>-6.3474444444444451</c:v>
                </c:pt>
                <c:pt idx="3">
                  <c:v>-5.146199999999999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AD5-41D0-9D27-0A835C7097BA}"/>
            </c:ext>
          </c:extLst>
        </c:ser>
        <c:ser>
          <c:idx val="1"/>
          <c:order val="1"/>
          <c:tx>
            <c:strRef>
              <c:f>deficit!$D$2</c:f>
              <c:strCache>
                <c:ptCount val="1"/>
                <c:pt idx="0">
                  <c:v>Euro area</c:v>
                </c:pt>
              </c:strCache>
            </c:strRef>
          </c:tx>
          <c:spPr>
            <a:solidFill>
              <a:srgbClr val="FFC000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>
                    <a:solidFill>
                      <a:srgbClr val="FFC000"/>
                    </a:solidFill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deficit!$A$58:$A$61</c:f>
              <c:strCache>
                <c:ptCount val="4"/>
                <c:pt idx="0">
                  <c:v>2000s</c:v>
                </c:pt>
                <c:pt idx="1">
                  <c:v>2010s</c:v>
                </c:pt>
                <c:pt idx="2">
                  <c:v>2020-23</c:v>
                </c:pt>
                <c:pt idx="3">
                  <c:v>2024-28</c:v>
                </c:pt>
              </c:strCache>
            </c:strRef>
          </c:cat>
          <c:val>
            <c:numRef>
              <c:f>deficit!$D$58:$D$61</c:f>
              <c:numCache>
                <c:formatCode>0.0</c:formatCode>
                <c:ptCount val="4"/>
                <c:pt idx="0">
                  <c:v>-2.5103999999999997</c:v>
                </c:pt>
                <c:pt idx="1">
                  <c:v>-2.5121000000000002</c:v>
                </c:pt>
                <c:pt idx="2">
                  <c:v>-3.405555555555555</c:v>
                </c:pt>
                <c:pt idx="3">
                  <c:v>-2.2505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AD5-41D0-9D27-0A835C7097BA}"/>
            </c:ext>
          </c:extLst>
        </c:ser>
        <c:ser>
          <c:idx val="0"/>
          <c:order val="2"/>
          <c:tx>
            <c:strRef>
              <c:f>deficit!$I$2</c:f>
              <c:strCache>
                <c:ptCount val="1"/>
                <c:pt idx="0">
                  <c:v>Emerg. Mark. and dev. econ.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>
                    <a:solidFill>
                      <a:srgbClr val="002060"/>
                    </a:solidFill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deficit!$A$58:$A$61</c:f>
              <c:strCache>
                <c:ptCount val="4"/>
                <c:pt idx="0">
                  <c:v>2000s</c:v>
                </c:pt>
                <c:pt idx="1">
                  <c:v>2010s</c:v>
                </c:pt>
                <c:pt idx="2">
                  <c:v>2020-23</c:v>
                </c:pt>
                <c:pt idx="3">
                  <c:v>2024-28</c:v>
                </c:pt>
              </c:strCache>
            </c:strRef>
          </c:cat>
          <c:val>
            <c:numRef>
              <c:f>deficit!$I$58:$I$61</c:f>
              <c:numCache>
                <c:formatCode>0.0</c:formatCode>
                <c:ptCount val="4"/>
                <c:pt idx="0">
                  <c:v>-1.2853999999999999</c:v>
                </c:pt>
                <c:pt idx="1">
                  <c:v>-2.8509000000000002</c:v>
                </c:pt>
                <c:pt idx="2">
                  <c:v>-5.5530000000000008</c:v>
                </c:pt>
                <c:pt idx="3">
                  <c:v>-5.1657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AD5-41D0-9D27-0A835C7097B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346339887"/>
        <c:axId val="1448222335"/>
      </c:barChart>
      <c:catAx>
        <c:axId val="346339887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high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/>
            </a:pPr>
            <a:endParaRPr lang="en-US"/>
          </a:p>
        </c:txPr>
        <c:crossAx val="1448222335"/>
        <c:crosses val="autoZero"/>
        <c:auto val="1"/>
        <c:lblAlgn val="ctr"/>
        <c:lblOffset val="100"/>
        <c:noMultiLvlLbl val="0"/>
      </c:catAx>
      <c:valAx>
        <c:axId val="1448222335"/>
        <c:scaling>
          <c:orientation val="minMax"/>
          <c:min val="-8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" sourceLinked="0"/>
        <c:majorTickMark val="out"/>
        <c:minorTickMark val="none"/>
        <c:tickLblPos val="nextTo"/>
        <c:spPr>
          <a:noFill/>
          <a:ln>
            <a:solidFill>
              <a:srgbClr val="002060"/>
            </a:solidFill>
          </a:ln>
          <a:effectLst/>
        </c:spPr>
        <c:txPr>
          <a:bodyPr rot="-60000000" vert="horz"/>
          <a:lstStyle/>
          <a:p>
            <a:pPr>
              <a:defRPr/>
            </a:pPr>
            <a:endParaRPr lang="en-US"/>
          </a:p>
        </c:txPr>
        <c:crossAx val="346339887"/>
        <c:crosses val="autoZero"/>
        <c:crossBetween val="between"/>
      </c:valAx>
    </c:plotArea>
    <c:legend>
      <c:legendPos val="t"/>
      <c:layout>
        <c:manualLayout>
          <c:xMode val="edge"/>
          <c:yMode val="edge"/>
          <c:x val="2.5852324015053673E-2"/>
          <c:y val="0.88467592592592592"/>
          <c:w val="0.97148775153105837"/>
          <c:h val="0.11496135899679205"/>
        </c:manualLayout>
      </c:layout>
      <c:overlay val="0"/>
      <c:txPr>
        <a:bodyPr/>
        <a:lstStyle/>
        <a:p>
          <a:pPr>
            <a:defRPr sz="2000"/>
          </a:pPr>
          <a:endParaRPr lang="en-US"/>
        </a:p>
      </c:txPr>
    </c:legend>
    <c:plotVisOnly val="1"/>
    <c:dispBlanksAs val="gap"/>
    <c:showDLblsOverMax val="0"/>
    <c:extLst/>
  </c:chart>
  <c:spPr>
    <a:ln>
      <a:solidFill>
        <a:srgbClr val="000000"/>
      </a:solidFill>
    </a:ln>
  </c:spPr>
  <c:txPr>
    <a:bodyPr/>
    <a:lstStyle/>
    <a:p>
      <a:pPr>
        <a:defRPr sz="1800" b="1">
          <a:solidFill>
            <a:schemeClr val="tx1"/>
          </a:solidFill>
        </a:defRPr>
      </a:pPr>
      <a:endParaRPr lang="en-US"/>
    </a:p>
  </c:txPr>
  <c:externalData r:id="rId2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6.4300558335026944E-2"/>
          <c:y val="9.0229992437386011E-2"/>
          <c:w val="0.90336551287409883"/>
          <c:h val="0.80237065705769828"/>
        </c:manualLayout>
      </c:layout>
      <c:barChart>
        <c:barDir val="col"/>
        <c:grouping val="clustered"/>
        <c:varyColors val="0"/>
        <c:ser>
          <c:idx val="3"/>
          <c:order val="0"/>
          <c:tx>
            <c:strRef>
              <c:f>'Debt stock'!$E$2</c:f>
              <c:strCache>
                <c:ptCount val="1"/>
                <c:pt idx="0">
                  <c:v>G7</c:v>
                </c:pt>
              </c:strCache>
            </c:strRef>
          </c:tx>
          <c:spPr>
            <a:solidFill>
              <a:srgbClr val="92D050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'Debt stock'!$A$63:$A$66</c:f>
              <c:numCache>
                <c:formatCode>General</c:formatCode>
                <c:ptCount val="4"/>
                <c:pt idx="0">
                  <c:v>2000</c:v>
                </c:pt>
                <c:pt idx="1">
                  <c:v>2007</c:v>
                </c:pt>
                <c:pt idx="2">
                  <c:v>2023</c:v>
                </c:pt>
                <c:pt idx="3">
                  <c:v>2028</c:v>
                </c:pt>
              </c:numCache>
            </c:numRef>
          </c:cat>
          <c:val>
            <c:numRef>
              <c:f>'Debt stock'!$E$63:$E$66</c:f>
              <c:numCache>
                <c:formatCode>0</c:formatCode>
                <c:ptCount val="4"/>
                <c:pt idx="0">
                  <c:v>75</c:v>
                </c:pt>
                <c:pt idx="1">
                  <c:v>80.688999999999993</c:v>
                </c:pt>
                <c:pt idx="2">
                  <c:v>127.791</c:v>
                </c:pt>
                <c:pt idx="3">
                  <c:v>134.294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FCA-43D6-87ED-235DEFA8C247}"/>
            </c:ext>
          </c:extLst>
        </c:ser>
        <c:ser>
          <c:idx val="1"/>
          <c:order val="1"/>
          <c:tx>
            <c:strRef>
              <c:f>'Debt stock'!$D$2</c:f>
              <c:strCache>
                <c:ptCount val="1"/>
                <c:pt idx="0">
                  <c:v>Euro area</c:v>
                </c:pt>
              </c:strCache>
            </c:strRef>
          </c:tx>
          <c:invertIfNegative val="0"/>
          <c:dLbls>
            <c:spPr>
              <a:noFill/>
              <a:ln>
                <a:noFill/>
              </a:ln>
              <a:effectLst/>
            </c:sp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'Debt stock'!$A$63:$A$66</c:f>
              <c:numCache>
                <c:formatCode>General</c:formatCode>
                <c:ptCount val="4"/>
                <c:pt idx="0">
                  <c:v>2000</c:v>
                </c:pt>
                <c:pt idx="1">
                  <c:v>2007</c:v>
                </c:pt>
                <c:pt idx="2">
                  <c:v>2023</c:v>
                </c:pt>
                <c:pt idx="3">
                  <c:v>2028</c:v>
                </c:pt>
              </c:numCache>
            </c:numRef>
          </c:cat>
          <c:val>
            <c:numRef>
              <c:f>'Debt stock'!$D$63:$D$66</c:f>
              <c:numCache>
                <c:formatCode>0</c:formatCode>
                <c:ptCount val="4"/>
                <c:pt idx="0">
                  <c:v>68.948999999999998</c:v>
                </c:pt>
                <c:pt idx="1">
                  <c:v>65.742999999999995</c:v>
                </c:pt>
                <c:pt idx="2">
                  <c:v>89.6</c:v>
                </c:pt>
                <c:pt idx="3">
                  <c:v>84.9369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FCA-43D6-87ED-235DEFA8C247}"/>
            </c:ext>
          </c:extLst>
        </c:ser>
        <c:ser>
          <c:idx val="0"/>
          <c:order val="2"/>
          <c:tx>
            <c:strRef>
              <c:f>'Debt stock'!$I$2</c:f>
              <c:strCache>
                <c:ptCount val="1"/>
                <c:pt idx="0">
                  <c:v>Emerg. Mark. and dev. econ.</c:v>
                </c:pt>
              </c:strCache>
            </c:strRef>
          </c:tx>
          <c:invertIfNegative val="0"/>
          <c:dLbls>
            <c:spPr>
              <a:noFill/>
              <a:ln>
                <a:noFill/>
              </a:ln>
              <a:effectLst/>
            </c:sp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'Debt stock'!$A$63:$A$66</c:f>
              <c:numCache>
                <c:formatCode>General</c:formatCode>
                <c:ptCount val="4"/>
                <c:pt idx="0">
                  <c:v>2000</c:v>
                </c:pt>
                <c:pt idx="1">
                  <c:v>2007</c:v>
                </c:pt>
                <c:pt idx="2">
                  <c:v>2023</c:v>
                </c:pt>
                <c:pt idx="3">
                  <c:v>2028</c:v>
                </c:pt>
              </c:numCache>
            </c:numRef>
          </c:cat>
          <c:val>
            <c:numRef>
              <c:f>'Debt stock'!$I$63:$I$66</c:f>
              <c:numCache>
                <c:formatCode>0</c:formatCode>
                <c:ptCount val="4"/>
                <c:pt idx="0">
                  <c:v>47.033999999999999</c:v>
                </c:pt>
                <c:pt idx="1">
                  <c:v>35.548000000000002</c:v>
                </c:pt>
                <c:pt idx="2">
                  <c:v>67.039000000000001</c:v>
                </c:pt>
                <c:pt idx="3">
                  <c:v>75.42600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FCA-43D6-87ED-235DEFA8C24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346339887"/>
        <c:axId val="1448222335"/>
      </c:barChart>
      <c:catAx>
        <c:axId val="346339887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/>
            </a:pPr>
            <a:endParaRPr lang="en-US"/>
          </a:p>
        </c:txPr>
        <c:crossAx val="1448222335"/>
        <c:crosses val="autoZero"/>
        <c:auto val="1"/>
        <c:lblAlgn val="ctr"/>
        <c:lblOffset val="100"/>
        <c:noMultiLvlLbl val="0"/>
      </c:catAx>
      <c:valAx>
        <c:axId val="1448222335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" sourceLinked="0"/>
        <c:majorTickMark val="out"/>
        <c:minorTickMark val="none"/>
        <c:tickLblPos val="nextTo"/>
        <c:spPr>
          <a:noFill/>
          <a:ln>
            <a:solidFill>
              <a:srgbClr val="002060"/>
            </a:solidFill>
          </a:ln>
          <a:effectLst/>
        </c:spPr>
        <c:txPr>
          <a:bodyPr rot="-60000000" vert="horz"/>
          <a:lstStyle/>
          <a:p>
            <a:pPr>
              <a:defRPr/>
            </a:pPr>
            <a:endParaRPr lang="en-US"/>
          </a:p>
        </c:txPr>
        <c:crossAx val="346339887"/>
        <c:crosses val="autoZero"/>
        <c:crossBetween val="between"/>
      </c:valAx>
    </c:plotArea>
    <c:legend>
      <c:legendPos val="t"/>
      <c:layout>
        <c:manualLayout>
          <c:xMode val="edge"/>
          <c:yMode val="edge"/>
          <c:x val="8.2156158877055817E-3"/>
          <c:y val="1.9860758930557399E-3"/>
          <c:w val="0.97148775153105837"/>
          <c:h val="6.4113839583611373E-2"/>
        </c:manualLayout>
      </c:layout>
      <c:overlay val="0"/>
      <c:txPr>
        <a:bodyPr/>
        <a:lstStyle/>
        <a:p>
          <a:pPr>
            <a:defRPr sz="2000"/>
          </a:pPr>
          <a:endParaRPr lang="en-US"/>
        </a:p>
      </c:txPr>
    </c:legend>
    <c:plotVisOnly val="1"/>
    <c:dispBlanksAs val="gap"/>
    <c:showDLblsOverMax val="0"/>
    <c:extLst/>
  </c:chart>
  <c:spPr>
    <a:ln>
      <a:solidFill>
        <a:srgbClr val="000000"/>
      </a:solidFill>
    </a:ln>
  </c:spPr>
  <c:txPr>
    <a:bodyPr/>
    <a:lstStyle/>
    <a:p>
      <a:pPr>
        <a:defRPr sz="1800" b="1">
          <a:solidFill>
            <a:schemeClr val="tx1"/>
          </a:solidFill>
        </a:defRPr>
      </a:pPr>
      <a:endParaRPr lang="en-US"/>
    </a:p>
  </c:txPr>
  <c:externalData r:id="rId2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6.9202931664791897E-2"/>
          <c:y val="5.0925925925925923E-2"/>
          <c:w val="0.90358970753655798"/>
          <c:h val="0.7941980169145525"/>
        </c:manualLayout>
      </c:layout>
      <c:lineChart>
        <c:grouping val="standard"/>
        <c:varyColors val="0"/>
        <c:ser>
          <c:idx val="0"/>
          <c:order val="0"/>
          <c:tx>
            <c:strRef>
              <c:f>private!$B$2</c:f>
              <c:strCache>
                <c:ptCount val="1"/>
                <c:pt idx="0">
                  <c:v>US</c:v>
                </c:pt>
              </c:strCache>
            </c:strRef>
          </c:tx>
          <c:spPr>
            <a:ln w="44450" cap="rnd">
              <a:solidFill>
                <a:srgbClr val="0070C0"/>
              </a:solidFill>
              <a:round/>
            </a:ln>
            <a:effectLst/>
          </c:spPr>
          <c:marker>
            <c:symbol val="none"/>
          </c:marker>
          <c:cat>
            <c:numRef>
              <c:f>private!$A$46:$A$79</c:f>
              <c:numCache>
                <c:formatCode>General</c:formatCode>
                <c:ptCount val="34"/>
                <c:pt idx="0">
                  <c:v>1990</c:v>
                </c:pt>
                <c:pt idx="1">
                  <c:v>1991</c:v>
                </c:pt>
                <c:pt idx="2">
                  <c:v>1992</c:v>
                </c:pt>
                <c:pt idx="3">
                  <c:v>1993</c:v>
                </c:pt>
                <c:pt idx="4">
                  <c:v>1994</c:v>
                </c:pt>
                <c:pt idx="5">
                  <c:v>1995</c:v>
                </c:pt>
                <c:pt idx="6">
                  <c:v>1996</c:v>
                </c:pt>
                <c:pt idx="7">
                  <c:v>1997</c:v>
                </c:pt>
                <c:pt idx="8">
                  <c:v>1998</c:v>
                </c:pt>
                <c:pt idx="9">
                  <c:v>1999</c:v>
                </c:pt>
                <c:pt idx="10">
                  <c:v>2000</c:v>
                </c:pt>
                <c:pt idx="11">
                  <c:v>2001</c:v>
                </c:pt>
                <c:pt idx="12">
                  <c:v>2002</c:v>
                </c:pt>
                <c:pt idx="13">
                  <c:v>2003</c:v>
                </c:pt>
                <c:pt idx="14">
                  <c:v>2004</c:v>
                </c:pt>
                <c:pt idx="15">
                  <c:v>2005</c:v>
                </c:pt>
                <c:pt idx="16">
                  <c:v>2006</c:v>
                </c:pt>
                <c:pt idx="17">
                  <c:v>2007</c:v>
                </c:pt>
                <c:pt idx="18">
                  <c:v>2008</c:v>
                </c:pt>
                <c:pt idx="19">
                  <c:v>2009</c:v>
                </c:pt>
                <c:pt idx="20">
                  <c:v>2010</c:v>
                </c:pt>
                <c:pt idx="21">
                  <c:v>2011</c:v>
                </c:pt>
                <c:pt idx="22">
                  <c:v>2012</c:v>
                </c:pt>
                <c:pt idx="23">
                  <c:v>2013</c:v>
                </c:pt>
                <c:pt idx="24">
                  <c:v>2014</c:v>
                </c:pt>
                <c:pt idx="25">
                  <c:v>2015</c:v>
                </c:pt>
                <c:pt idx="26">
                  <c:v>2016</c:v>
                </c:pt>
                <c:pt idx="27">
                  <c:v>2017</c:v>
                </c:pt>
                <c:pt idx="28">
                  <c:v>2018</c:v>
                </c:pt>
                <c:pt idx="29">
                  <c:v>2019</c:v>
                </c:pt>
                <c:pt idx="30">
                  <c:v>2020</c:v>
                </c:pt>
                <c:pt idx="31">
                  <c:v>2021</c:v>
                </c:pt>
                <c:pt idx="32">
                  <c:v>2022</c:v>
                </c:pt>
                <c:pt idx="33">
                  <c:v>2023</c:v>
                </c:pt>
              </c:numCache>
            </c:numRef>
          </c:cat>
          <c:val>
            <c:numRef>
              <c:f>private!$B$46:$B$79</c:f>
              <c:numCache>
                <c:formatCode>General</c:formatCode>
                <c:ptCount val="34"/>
                <c:pt idx="0">
                  <c:v>124.6</c:v>
                </c:pt>
                <c:pt idx="1">
                  <c:v>122.6</c:v>
                </c:pt>
                <c:pt idx="2">
                  <c:v>118.7</c:v>
                </c:pt>
                <c:pt idx="3">
                  <c:v>118.4</c:v>
                </c:pt>
                <c:pt idx="4">
                  <c:v>118.8</c:v>
                </c:pt>
                <c:pt idx="5">
                  <c:v>120.8</c:v>
                </c:pt>
                <c:pt idx="6">
                  <c:v>121.6</c:v>
                </c:pt>
                <c:pt idx="7">
                  <c:v>122.9</c:v>
                </c:pt>
                <c:pt idx="8">
                  <c:v>127.7</c:v>
                </c:pt>
                <c:pt idx="9">
                  <c:v>132.30000000000001</c:v>
                </c:pt>
                <c:pt idx="10">
                  <c:v>135.19999999999999</c:v>
                </c:pt>
                <c:pt idx="11">
                  <c:v>139.80000000000001</c:v>
                </c:pt>
                <c:pt idx="12">
                  <c:v>143.9</c:v>
                </c:pt>
                <c:pt idx="13">
                  <c:v>147.6</c:v>
                </c:pt>
                <c:pt idx="14">
                  <c:v>151.19999999999999</c:v>
                </c:pt>
                <c:pt idx="15">
                  <c:v>155.5</c:v>
                </c:pt>
                <c:pt idx="16">
                  <c:v>162.1</c:v>
                </c:pt>
                <c:pt idx="17">
                  <c:v>168.8</c:v>
                </c:pt>
                <c:pt idx="18">
                  <c:v>168.7</c:v>
                </c:pt>
                <c:pt idx="19">
                  <c:v>167.4</c:v>
                </c:pt>
                <c:pt idx="20">
                  <c:v>158.6</c:v>
                </c:pt>
                <c:pt idx="21">
                  <c:v>153.80000000000001</c:v>
                </c:pt>
                <c:pt idx="22">
                  <c:v>150.30000000000001</c:v>
                </c:pt>
                <c:pt idx="23">
                  <c:v>149.4</c:v>
                </c:pt>
                <c:pt idx="24">
                  <c:v>148.4</c:v>
                </c:pt>
                <c:pt idx="25">
                  <c:v>148.69999999999999</c:v>
                </c:pt>
                <c:pt idx="26">
                  <c:v>150.6</c:v>
                </c:pt>
                <c:pt idx="27">
                  <c:v>152.30000000000001</c:v>
                </c:pt>
                <c:pt idx="28">
                  <c:v>151.6</c:v>
                </c:pt>
                <c:pt idx="29">
                  <c:v>151.4</c:v>
                </c:pt>
                <c:pt idx="30">
                  <c:v>163.6</c:v>
                </c:pt>
                <c:pt idx="31">
                  <c:v>156.9</c:v>
                </c:pt>
                <c:pt idx="32">
                  <c:v>152.5</c:v>
                </c:pt>
                <c:pt idx="33">
                  <c:v>150.80000000000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8B97-4A06-A282-E625CD1F873A}"/>
            </c:ext>
          </c:extLst>
        </c:ser>
        <c:ser>
          <c:idx val="1"/>
          <c:order val="1"/>
          <c:tx>
            <c:strRef>
              <c:f>private!$C$2</c:f>
              <c:strCache>
                <c:ptCount val="1"/>
                <c:pt idx="0">
                  <c:v>Eurozone</c:v>
                </c:pt>
              </c:strCache>
            </c:strRef>
          </c:tx>
          <c:spPr>
            <a:ln w="44450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numRef>
              <c:f>private!$A$46:$A$79</c:f>
              <c:numCache>
                <c:formatCode>General</c:formatCode>
                <c:ptCount val="34"/>
                <c:pt idx="0">
                  <c:v>1990</c:v>
                </c:pt>
                <c:pt idx="1">
                  <c:v>1991</c:v>
                </c:pt>
                <c:pt idx="2">
                  <c:v>1992</c:v>
                </c:pt>
                <c:pt idx="3">
                  <c:v>1993</c:v>
                </c:pt>
                <c:pt idx="4">
                  <c:v>1994</c:v>
                </c:pt>
                <c:pt idx="5">
                  <c:v>1995</c:v>
                </c:pt>
                <c:pt idx="6">
                  <c:v>1996</c:v>
                </c:pt>
                <c:pt idx="7">
                  <c:v>1997</c:v>
                </c:pt>
                <c:pt idx="8">
                  <c:v>1998</c:v>
                </c:pt>
                <c:pt idx="9">
                  <c:v>1999</c:v>
                </c:pt>
                <c:pt idx="10">
                  <c:v>2000</c:v>
                </c:pt>
                <c:pt idx="11">
                  <c:v>2001</c:v>
                </c:pt>
                <c:pt idx="12">
                  <c:v>2002</c:v>
                </c:pt>
                <c:pt idx="13">
                  <c:v>2003</c:v>
                </c:pt>
                <c:pt idx="14">
                  <c:v>2004</c:v>
                </c:pt>
                <c:pt idx="15">
                  <c:v>2005</c:v>
                </c:pt>
                <c:pt idx="16">
                  <c:v>2006</c:v>
                </c:pt>
                <c:pt idx="17">
                  <c:v>2007</c:v>
                </c:pt>
                <c:pt idx="18">
                  <c:v>2008</c:v>
                </c:pt>
                <c:pt idx="19">
                  <c:v>2009</c:v>
                </c:pt>
                <c:pt idx="20">
                  <c:v>2010</c:v>
                </c:pt>
                <c:pt idx="21">
                  <c:v>2011</c:v>
                </c:pt>
                <c:pt idx="22">
                  <c:v>2012</c:v>
                </c:pt>
                <c:pt idx="23">
                  <c:v>2013</c:v>
                </c:pt>
                <c:pt idx="24">
                  <c:v>2014</c:v>
                </c:pt>
                <c:pt idx="25">
                  <c:v>2015</c:v>
                </c:pt>
                <c:pt idx="26">
                  <c:v>2016</c:v>
                </c:pt>
                <c:pt idx="27">
                  <c:v>2017</c:v>
                </c:pt>
                <c:pt idx="28">
                  <c:v>2018</c:v>
                </c:pt>
                <c:pt idx="29">
                  <c:v>2019</c:v>
                </c:pt>
                <c:pt idx="30">
                  <c:v>2020</c:v>
                </c:pt>
                <c:pt idx="31">
                  <c:v>2021</c:v>
                </c:pt>
                <c:pt idx="32">
                  <c:v>2022</c:v>
                </c:pt>
                <c:pt idx="33">
                  <c:v>2023</c:v>
                </c:pt>
              </c:numCache>
            </c:numRef>
          </c:cat>
          <c:val>
            <c:numRef>
              <c:f>private!$C$46:$C$79</c:f>
              <c:numCache>
                <c:formatCode>General</c:formatCode>
                <c:ptCount val="34"/>
                <c:pt idx="9">
                  <c:v>120.9</c:v>
                </c:pt>
                <c:pt idx="10">
                  <c:v>126</c:v>
                </c:pt>
                <c:pt idx="11">
                  <c:v>129.6</c:v>
                </c:pt>
                <c:pt idx="12">
                  <c:v>132.69999999999999</c:v>
                </c:pt>
                <c:pt idx="13">
                  <c:v>135.19999999999999</c:v>
                </c:pt>
                <c:pt idx="14">
                  <c:v>138.19999999999999</c:v>
                </c:pt>
                <c:pt idx="15">
                  <c:v>142.69999999999999</c:v>
                </c:pt>
                <c:pt idx="16">
                  <c:v>146.5</c:v>
                </c:pt>
                <c:pt idx="17">
                  <c:v>152.5</c:v>
                </c:pt>
                <c:pt idx="18">
                  <c:v>157.19999999999999</c:v>
                </c:pt>
                <c:pt idx="19">
                  <c:v>164.7</c:v>
                </c:pt>
                <c:pt idx="20">
                  <c:v>164.6</c:v>
                </c:pt>
                <c:pt idx="21">
                  <c:v>165.5</c:v>
                </c:pt>
                <c:pt idx="22">
                  <c:v>165.7</c:v>
                </c:pt>
                <c:pt idx="23">
                  <c:v>163.9</c:v>
                </c:pt>
                <c:pt idx="24">
                  <c:v>165.1</c:v>
                </c:pt>
                <c:pt idx="25">
                  <c:v>167.2</c:v>
                </c:pt>
                <c:pt idx="26">
                  <c:v>167.1</c:v>
                </c:pt>
                <c:pt idx="27">
                  <c:v>163.69999999999999</c:v>
                </c:pt>
                <c:pt idx="28">
                  <c:v>160</c:v>
                </c:pt>
                <c:pt idx="29">
                  <c:v>159.5</c:v>
                </c:pt>
                <c:pt idx="30">
                  <c:v>173.4</c:v>
                </c:pt>
                <c:pt idx="31">
                  <c:v>168.4</c:v>
                </c:pt>
                <c:pt idx="32">
                  <c:v>160.30000000000001</c:v>
                </c:pt>
                <c:pt idx="33">
                  <c:v>157.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B97-4A06-A282-E625CD1F873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363722224"/>
        <c:axId val="383896912"/>
      </c:lineChart>
      <c:catAx>
        <c:axId val="36372222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6350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6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83896912"/>
        <c:crosses val="autoZero"/>
        <c:auto val="1"/>
        <c:lblAlgn val="ctr"/>
        <c:lblOffset val="100"/>
        <c:noMultiLvlLbl val="0"/>
      </c:catAx>
      <c:valAx>
        <c:axId val="383896912"/>
        <c:scaling>
          <c:orientation val="minMax"/>
          <c:max val="180"/>
          <c:min val="11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6372222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40673862642169728"/>
          <c:y val="1.4467045785943381E-2"/>
          <c:w val="0.38037112644870008"/>
          <c:h val="8.5878463665324284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 w="9525" cap="flat" cmpd="sng" algn="ctr">
      <a:solidFill>
        <a:schemeClr val="tx1"/>
      </a:solidFill>
      <a:round/>
    </a:ln>
    <a:effectLst/>
  </c:spPr>
  <c:txPr>
    <a:bodyPr/>
    <a:lstStyle/>
    <a:p>
      <a:pPr>
        <a:defRPr sz="1600" b="1">
          <a:solidFill>
            <a:schemeClr val="tx1"/>
          </a:solidFill>
        </a:defRPr>
      </a:pPr>
      <a:endParaRPr lang="en-US"/>
    </a:p>
  </c:txPr>
  <c:externalData r:id="rId4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6.5370766208430367E-2"/>
          <c:y val="2.8725438731923215E-2"/>
          <c:w val="0.92141973580275582"/>
          <c:h val="0.84304343488164257"/>
        </c:manualLayout>
      </c:layout>
      <c:lineChart>
        <c:grouping val="standard"/>
        <c:varyColors val="0"/>
        <c:ser>
          <c:idx val="1"/>
          <c:order val="0"/>
          <c:tx>
            <c:v>43 countries</c:v>
          </c:tx>
          <c:spPr>
            <a:ln w="44450"/>
          </c:spPr>
          <c:marker>
            <c:symbol val="none"/>
          </c:marker>
          <c:cat>
            <c:numRef>
              <c:f>Sheet13!$A$5:$A$29</c:f>
              <c:numCache>
                <c:formatCode>General</c:formatCode>
                <c:ptCount val="25"/>
                <c:pt idx="0">
                  <c:v>1999</c:v>
                </c:pt>
                <c:pt idx="1">
                  <c:v>2000</c:v>
                </c:pt>
                <c:pt idx="2">
                  <c:v>2001</c:v>
                </c:pt>
                <c:pt idx="3">
                  <c:v>2002</c:v>
                </c:pt>
                <c:pt idx="4">
                  <c:v>2003</c:v>
                </c:pt>
                <c:pt idx="5">
                  <c:v>2004</c:v>
                </c:pt>
                <c:pt idx="6">
                  <c:v>2005</c:v>
                </c:pt>
                <c:pt idx="7">
                  <c:v>2006</c:v>
                </c:pt>
                <c:pt idx="8">
                  <c:v>2007</c:v>
                </c:pt>
                <c:pt idx="9">
                  <c:v>2008</c:v>
                </c:pt>
                <c:pt idx="10">
                  <c:v>2009</c:v>
                </c:pt>
                <c:pt idx="11">
                  <c:v>2010</c:v>
                </c:pt>
                <c:pt idx="12">
                  <c:v>2011</c:v>
                </c:pt>
                <c:pt idx="13">
                  <c:v>2012</c:v>
                </c:pt>
                <c:pt idx="14">
                  <c:v>2013</c:v>
                </c:pt>
                <c:pt idx="15">
                  <c:v>2014</c:v>
                </c:pt>
                <c:pt idx="16">
                  <c:v>2015</c:v>
                </c:pt>
                <c:pt idx="17">
                  <c:v>2016</c:v>
                </c:pt>
                <c:pt idx="18">
                  <c:v>2017</c:v>
                </c:pt>
                <c:pt idx="19">
                  <c:v>2018</c:v>
                </c:pt>
                <c:pt idx="20">
                  <c:v>2019</c:v>
                </c:pt>
                <c:pt idx="21">
                  <c:v>2020</c:v>
                </c:pt>
                <c:pt idx="22">
                  <c:v>2021</c:v>
                </c:pt>
                <c:pt idx="23">
                  <c:v>2022</c:v>
                </c:pt>
                <c:pt idx="24">
                  <c:v>2023</c:v>
                </c:pt>
              </c:numCache>
            </c:numRef>
          </c:cat>
          <c:val>
            <c:numRef>
              <c:f>Sheet13!$AU$5:$AU$29</c:f>
              <c:numCache>
                <c:formatCode>#,##0.00</c:formatCode>
                <c:ptCount val="25"/>
                <c:pt idx="0">
                  <c:v>110.31136363636364</c:v>
                </c:pt>
                <c:pt idx="1">
                  <c:v>110.8</c:v>
                </c:pt>
                <c:pt idx="2">
                  <c:v>114.30000000000005</c:v>
                </c:pt>
                <c:pt idx="3">
                  <c:v>117.1090909090909</c:v>
                </c:pt>
                <c:pt idx="4">
                  <c:v>119.50681818181819</c:v>
                </c:pt>
                <c:pt idx="5">
                  <c:v>120.24318181818177</c:v>
                </c:pt>
                <c:pt idx="6">
                  <c:v>123.63636363636364</c:v>
                </c:pt>
                <c:pt idx="7">
                  <c:v>127.89318181818184</c:v>
                </c:pt>
                <c:pt idx="8">
                  <c:v>136.13636363636363</c:v>
                </c:pt>
                <c:pt idx="9">
                  <c:v>143.03636363636363</c:v>
                </c:pt>
                <c:pt idx="10">
                  <c:v>150.12954545454542</c:v>
                </c:pt>
                <c:pt idx="11">
                  <c:v>148.60454545454547</c:v>
                </c:pt>
                <c:pt idx="12">
                  <c:v>150.71818181818182</c:v>
                </c:pt>
                <c:pt idx="13">
                  <c:v>153.28636363636366</c:v>
                </c:pt>
                <c:pt idx="14">
                  <c:v>154.72045454545457</c:v>
                </c:pt>
                <c:pt idx="15">
                  <c:v>157.04772727272726</c:v>
                </c:pt>
                <c:pt idx="16">
                  <c:v>160.24772727272725</c:v>
                </c:pt>
                <c:pt idx="17">
                  <c:v>159.7045454545455</c:v>
                </c:pt>
                <c:pt idx="18">
                  <c:v>157.58636363636367</c:v>
                </c:pt>
                <c:pt idx="19">
                  <c:v>156.27500000000003</c:v>
                </c:pt>
                <c:pt idx="20">
                  <c:v>158.14772727272725</c:v>
                </c:pt>
                <c:pt idx="21">
                  <c:v>169.17499999999998</c:v>
                </c:pt>
                <c:pt idx="22">
                  <c:v>163.17045454545453</c:v>
                </c:pt>
                <c:pt idx="23">
                  <c:v>154.15227272727267</c:v>
                </c:pt>
                <c:pt idx="24">
                  <c:v>151.8386363636363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C634-42D2-800A-BC30B93AC87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711345776"/>
        <c:axId val="444677408"/>
      </c:lineChart>
      <c:catAx>
        <c:axId val="71134577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vert="horz"/>
          <a:lstStyle/>
          <a:p>
            <a:pPr>
              <a:defRPr sz="1400"/>
            </a:pPr>
            <a:endParaRPr lang="en-US"/>
          </a:p>
        </c:txPr>
        <c:crossAx val="444677408"/>
        <c:crosses val="autoZero"/>
        <c:auto val="1"/>
        <c:lblAlgn val="ctr"/>
        <c:lblOffset val="100"/>
        <c:noMultiLvlLbl val="0"/>
      </c:catAx>
      <c:valAx>
        <c:axId val="444677408"/>
        <c:scaling>
          <c:orientation val="minMax"/>
          <c:min val="1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vert="horz"/>
          <a:lstStyle/>
          <a:p>
            <a:pPr>
              <a:defRPr/>
            </a:pPr>
            <a:endParaRPr lang="en-US"/>
          </a:p>
        </c:txPr>
        <c:crossAx val="711345776"/>
        <c:crosses val="autoZero"/>
        <c:crossBetween val="between"/>
      </c:valAx>
    </c:plotArea>
    <c:plotVisOnly val="1"/>
    <c:dispBlanksAs val="gap"/>
    <c:showDLblsOverMax val="0"/>
    <c:extLst/>
  </c:chart>
  <c:spPr>
    <a:ln>
      <a:solidFill>
        <a:srgbClr val="000000"/>
      </a:solidFill>
    </a:ln>
  </c:spPr>
  <c:txPr>
    <a:bodyPr/>
    <a:lstStyle/>
    <a:p>
      <a:pPr>
        <a:defRPr sz="1800" b="1">
          <a:solidFill>
            <a:srgbClr val="002060"/>
          </a:solidFill>
        </a:defRPr>
      </a:pPr>
      <a:endParaRPr lang="en-US"/>
    </a:p>
  </c:txPr>
  <c:externalData r:id="rId2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24057</cdr:x>
      <cdr:y>0.16541</cdr:y>
    </cdr:from>
    <cdr:to>
      <cdr:x>0.97689</cdr:x>
      <cdr:y>0.41738</cdr:y>
    </cdr:to>
    <cdr:cxnSp macro="">
      <cdr:nvCxnSpPr>
        <cdr:cNvPr id="3" name="Straight Arrow Connector 2">
          <a:extLst xmlns:a="http://schemas.openxmlformats.org/drawingml/2006/main">
            <a:ext uri="{FF2B5EF4-FFF2-40B4-BE49-F238E27FC236}">
              <a16:creationId xmlns:a16="http://schemas.microsoft.com/office/drawing/2014/main" id="{296170F1-3B99-F7F7-1A4C-5CDA2D019667}"/>
            </a:ext>
          </a:extLst>
        </cdr:cNvPr>
        <cdr:cNvCxnSpPr/>
      </cdr:nvCxnSpPr>
      <cdr:spPr bwMode="auto">
        <a:xfrm xmlns:a="http://schemas.openxmlformats.org/drawingml/2006/main" flipV="1">
          <a:off x="2642153" y="819150"/>
          <a:ext cx="8086725" cy="1247775"/>
        </a:xfrm>
        <a:prstGeom xmlns:a="http://schemas.openxmlformats.org/drawingml/2006/main" prst="straightConnector1">
          <a:avLst/>
        </a:prstGeom>
        <a:solidFill xmlns:a="http://schemas.openxmlformats.org/drawingml/2006/main">
          <a:schemeClr val="accent1"/>
        </a:solidFill>
        <a:ln xmlns:a="http://schemas.openxmlformats.org/drawingml/2006/main" w="19050" cap="flat" cmpd="sng" algn="ctr">
          <a:solidFill>
            <a:srgbClr val="00B0F0"/>
          </a:solidFill>
          <a:prstDash val="sysDash"/>
          <a:round/>
          <a:headEnd type="none" w="med" len="med"/>
          <a:tailEnd type="triangle"/>
        </a:ln>
        <a:effectLst xmlns:a="http://schemas.openxmlformats.org/drawingml/2006/main"/>
      </cdr:spPr>
    </cdr:cxn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80493</cdr:x>
      <cdr:y>0.20247</cdr:y>
    </cdr:from>
    <cdr:to>
      <cdr:x>0.80493</cdr:x>
      <cdr:y>0.87539</cdr:y>
    </cdr:to>
    <cdr:cxnSp macro="">
      <cdr:nvCxnSpPr>
        <cdr:cNvPr id="3" name="Straight Connector 2">
          <a:extLst xmlns:a="http://schemas.openxmlformats.org/drawingml/2006/main">
            <a:ext uri="{FF2B5EF4-FFF2-40B4-BE49-F238E27FC236}">
              <a16:creationId xmlns:a16="http://schemas.microsoft.com/office/drawing/2014/main" id="{283BA97A-0CBC-45C3-C3F8-F03688E5883D}"/>
            </a:ext>
          </a:extLst>
        </cdr:cNvPr>
        <cdr:cNvCxnSpPr/>
      </cdr:nvCxnSpPr>
      <cdr:spPr bwMode="auto">
        <a:xfrm xmlns:a="http://schemas.openxmlformats.org/drawingml/2006/main" flipV="1">
          <a:off x="8985250" y="1005924"/>
          <a:ext cx="0" cy="3343275"/>
        </a:xfrm>
        <a:prstGeom xmlns:a="http://schemas.openxmlformats.org/drawingml/2006/main" prst="line">
          <a:avLst/>
        </a:prstGeom>
        <a:solidFill xmlns:a="http://schemas.openxmlformats.org/drawingml/2006/main">
          <a:schemeClr val="accent1"/>
        </a:solidFill>
        <a:ln xmlns:a="http://schemas.openxmlformats.org/drawingml/2006/main" w="19050" cap="flat" cmpd="sng" algn="ctr">
          <a:solidFill>
            <a:srgbClr val="FF0000"/>
          </a:solidFill>
          <a:prstDash val="sysDash"/>
          <a:round/>
          <a:headEnd type="none" w="med" len="med"/>
          <a:tailEnd type="none" w="med" len="med"/>
        </a:ln>
        <a:effectLst xmlns:a="http://schemas.openxmlformats.org/drawingml/2006/main"/>
      </cdr:spPr>
    </cdr:cxnSp>
  </cdr:relSizeAnchor>
</c:userShapes>
</file>

<file path=ppt/drawings/drawing3.xml><?xml version="1.0" encoding="utf-8"?>
<c:userShapes xmlns:c="http://schemas.openxmlformats.org/drawingml/2006/chart">
  <cdr:relSizeAnchor xmlns:cdr="http://schemas.openxmlformats.org/drawingml/2006/chartDrawing">
    <cdr:from>
      <cdr:x>0.28102</cdr:x>
      <cdr:y>0.2181</cdr:y>
    </cdr:from>
    <cdr:to>
      <cdr:x>0.45884</cdr:x>
      <cdr:y>0.40616</cdr:y>
    </cdr:to>
    <cdr:sp macro="" textlink="">
      <cdr:nvSpPr>
        <cdr:cNvPr id="2" name="Oval 1">
          <a:extLst xmlns:a="http://schemas.openxmlformats.org/drawingml/2006/main">
            <a:ext uri="{FF2B5EF4-FFF2-40B4-BE49-F238E27FC236}">
              <a16:creationId xmlns:a16="http://schemas.microsoft.com/office/drawing/2014/main" id="{EB98F8F7-6AB5-CAEA-DE52-42FD177635A8}"/>
            </a:ext>
          </a:extLst>
        </cdr:cNvPr>
        <cdr:cNvSpPr/>
      </cdr:nvSpPr>
      <cdr:spPr>
        <a:xfrm xmlns:a="http://schemas.openxmlformats.org/drawingml/2006/main">
          <a:off x="3197837" y="1047029"/>
          <a:ext cx="2023449" cy="902801"/>
        </a:xfrm>
        <a:prstGeom xmlns:a="http://schemas.openxmlformats.org/drawingml/2006/main" prst="ellipse">
          <a:avLst/>
        </a:prstGeom>
        <a:noFill xmlns:a="http://schemas.openxmlformats.org/drawingml/2006/main"/>
        <a:ln xmlns:a="http://schemas.openxmlformats.org/drawingml/2006/main" w="15875">
          <a:solidFill>
            <a:srgbClr val="00B050"/>
          </a:solidFill>
          <a:prstDash val="sysDash"/>
        </a:ln>
      </cdr:spPr>
      <cdr:style>
        <a:lnRef xmlns:a="http://schemas.openxmlformats.org/drawingml/2006/main" idx="2">
          <a:schemeClr val="accent1">
            <a:shade val="15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vertOverflow="clip"/>
        <a:lstStyle xmlns:a="http://schemas.openxmlformats.org/drawingml/2006/main"/>
        <a:p xmlns:a="http://schemas.openxmlformats.org/drawingml/2006/main">
          <a:endParaRPr lang="en-US"/>
        </a:p>
      </cdr:txBody>
    </cdr:sp>
  </cdr:relSizeAnchor>
  <cdr:relSizeAnchor xmlns:cdr="http://schemas.openxmlformats.org/drawingml/2006/chartDrawing">
    <cdr:from>
      <cdr:x>0.51853</cdr:x>
      <cdr:y>0.30597</cdr:y>
    </cdr:from>
    <cdr:to>
      <cdr:x>0.62944</cdr:x>
      <cdr:y>0.5</cdr:y>
    </cdr:to>
    <cdr:sp macro="" textlink="">
      <cdr:nvSpPr>
        <cdr:cNvPr id="3" name="Oval 2">
          <a:extLst xmlns:a="http://schemas.openxmlformats.org/drawingml/2006/main">
            <a:ext uri="{FF2B5EF4-FFF2-40B4-BE49-F238E27FC236}">
              <a16:creationId xmlns:a16="http://schemas.microsoft.com/office/drawing/2014/main" id="{738645FC-4C2C-0DA6-AA0E-597CCA1AF272}"/>
            </a:ext>
          </a:extLst>
        </cdr:cNvPr>
        <cdr:cNvSpPr/>
      </cdr:nvSpPr>
      <cdr:spPr>
        <a:xfrm xmlns:a="http://schemas.openxmlformats.org/drawingml/2006/main">
          <a:off x="5900490" y="1468839"/>
          <a:ext cx="1262067" cy="931461"/>
        </a:xfrm>
        <a:prstGeom xmlns:a="http://schemas.openxmlformats.org/drawingml/2006/main" prst="ellipse">
          <a:avLst/>
        </a:prstGeom>
        <a:noFill xmlns:a="http://schemas.openxmlformats.org/drawingml/2006/main"/>
        <a:ln xmlns:a="http://schemas.openxmlformats.org/drawingml/2006/main" w="22225">
          <a:solidFill>
            <a:srgbClr val="00B050"/>
          </a:solidFill>
          <a:prstDash val="sysDash"/>
        </a:ln>
      </cdr:spPr>
      <cdr:style>
        <a:lnRef xmlns:a="http://schemas.openxmlformats.org/drawingml/2006/main" idx="2">
          <a:schemeClr val="accent1">
            <a:shade val="15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>
          <a:lvl1pPr marL="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endParaRPr lang="en-US"/>
        </a:p>
      </cdr:txBody>
    </cdr:sp>
  </cdr:relSizeAnchor>
  <cdr:relSizeAnchor xmlns:cdr="http://schemas.openxmlformats.org/drawingml/2006/chartDrawing">
    <cdr:from>
      <cdr:x>0.88908</cdr:x>
      <cdr:y>0.30348</cdr:y>
    </cdr:from>
    <cdr:to>
      <cdr:x>1</cdr:x>
      <cdr:y>0.55224</cdr:y>
    </cdr:to>
    <cdr:sp macro="" textlink="">
      <cdr:nvSpPr>
        <cdr:cNvPr id="4" name="Oval 3">
          <a:extLst xmlns:a="http://schemas.openxmlformats.org/drawingml/2006/main">
            <a:ext uri="{FF2B5EF4-FFF2-40B4-BE49-F238E27FC236}">
              <a16:creationId xmlns:a16="http://schemas.microsoft.com/office/drawing/2014/main" id="{D40812FD-D8E4-6DC7-F15D-5089EC4B4DB5}"/>
            </a:ext>
          </a:extLst>
        </cdr:cNvPr>
        <cdr:cNvSpPr/>
      </cdr:nvSpPr>
      <cdr:spPr>
        <a:xfrm xmlns:a="http://schemas.openxmlformats.org/drawingml/2006/main">
          <a:off x="3848100" y="774700"/>
          <a:ext cx="480060" cy="635000"/>
        </a:xfrm>
        <a:prstGeom xmlns:a="http://schemas.openxmlformats.org/drawingml/2006/main" prst="ellipse">
          <a:avLst/>
        </a:prstGeom>
        <a:noFill xmlns:a="http://schemas.openxmlformats.org/drawingml/2006/main"/>
        <a:ln xmlns:a="http://schemas.openxmlformats.org/drawingml/2006/main" w="19050">
          <a:solidFill>
            <a:srgbClr val="00B050"/>
          </a:solidFill>
          <a:prstDash val="sysDash"/>
        </a:ln>
      </cdr:spPr>
      <cdr:style>
        <a:lnRef xmlns:a="http://schemas.openxmlformats.org/drawingml/2006/main" idx="2">
          <a:schemeClr val="accent1">
            <a:shade val="15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>
          <a:lvl1pPr marL="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endParaRPr lang="en-US"/>
        </a:p>
      </cdr:txBody>
    </cdr:sp>
  </cdr:relSizeAnchor>
</c:userShapes>
</file>

<file path=ppt/drawings/drawing4.xml><?xml version="1.0" encoding="utf-8"?>
<c:userShapes xmlns:c="http://schemas.openxmlformats.org/drawingml/2006/chart">
  <cdr:relSizeAnchor xmlns:cdr="http://schemas.openxmlformats.org/drawingml/2006/chartDrawing">
    <cdr:from>
      <cdr:x>0.27465</cdr:x>
      <cdr:y>0.10448</cdr:y>
    </cdr:from>
    <cdr:to>
      <cdr:x>0.45247</cdr:x>
      <cdr:y>0.29254</cdr:y>
    </cdr:to>
    <cdr:sp macro="" textlink="">
      <cdr:nvSpPr>
        <cdr:cNvPr id="2" name="Oval 1">
          <a:extLst xmlns:a="http://schemas.openxmlformats.org/drawingml/2006/main">
            <a:ext uri="{FF2B5EF4-FFF2-40B4-BE49-F238E27FC236}">
              <a16:creationId xmlns:a16="http://schemas.microsoft.com/office/drawing/2014/main" id="{EB98F8F7-6AB5-CAEA-DE52-42FD177635A8}"/>
            </a:ext>
          </a:extLst>
        </cdr:cNvPr>
        <cdr:cNvSpPr/>
      </cdr:nvSpPr>
      <cdr:spPr>
        <a:xfrm xmlns:a="http://schemas.openxmlformats.org/drawingml/2006/main">
          <a:off x="1188722" y="266711"/>
          <a:ext cx="769633" cy="480061"/>
        </a:xfrm>
        <a:prstGeom xmlns:a="http://schemas.openxmlformats.org/drawingml/2006/main" prst="ellipse">
          <a:avLst/>
        </a:prstGeom>
        <a:noFill xmlns:a="http://schemas.openxmlformats.org/drawingml/2006/main"/>
        <a:ln xmlns:a="http://schemas.openxmlformats.org/drawingml/2006/main">
          <a:solidFill>
            <a:srgbClr val="C00000"/>
          </a:solidFill>
          <a:prstDash val="sysDash"/>
        </a:ln>
      </cdr:spPr>
      <cdr:style>
        <a:lnRef xmlns:a="http://schemas.openxmlformats.org/drawingml/2006/main" idx="2">
          <a:schemeClr val="accent1">
            <a:shade val="15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vertOverflow="clip"/>
        <a:lstStyle xmlns:a="http://schemas.openxmlformats.org/drawingml/2006/main"/>
        <a:p xmlns:a="http://schemas.openxmlformats.org/drawingml/2006/main">
          <a:endParaRPr lang="en-US"/>
        </a:p>
      </cdr:txBody>
    </cdr:sp>
  </cdr:relSizeAnchor>
  <cdr:relSizeAnchor xmlns:cdr="http://schemas.openxmlformats.org/drawingml/2006/chartDrawing">
    <cdr:from>
      <cdr:x>0.56278</cdr:x>
      <cdr:y>0.14925</cdr:y>
    </cdr:from>
    <cdr:to>
      <cdr:x>0.6197</cdr:x>
      <cdr:y>0.34328</cdr:y>
    </cdr:to>
    <cdr:sp macro="" textlink="">
      <cdr:nvSpPr>
        <cdr:cNvPr id="3" name="Oval 2">
          <a:extLst xmlns:a="http://schemas.openxmlformats.org/drawingml/2006/main">
            <a:ext uri="{FF2B5EF4-FFF2-40B4-BE49-F238E27FC236}">
              <a16:creationId xmlns:a16="http://schemas.microsoft.com/office/drawing/2014/main" id="{738645FC-4C2C-0DA6-AA0E-597CCA1AF272}"/>
            </a:ext>
          </a:extLst>
        </cdr:cNvPr>
        <cdr:cNvSpPr/>
      </cdr:nvSpPr>
      <cdr:spPr>
        <a:xfrm xmlns:a="http://schemas.openxmlformats.org/drawingml/2006/main">
          <a:off x="6403974" y="702273"/>
          <a:ext cx="647715" cy="912980"/>
        </a:xfrm>
        <a:prstGeom xmlns:a="http://schemas.openxmlformats.org/drawingml/2006/main" prst="ellipse">
          <a:avLst/>
        </a:prstGeom>
        <a:noFill xmlns:a="http://schemas.openxmlformats.org/drawingml/2006/main"/>
        <a:ln xmlns:a="http://schemas.openxmlformats.org/drawingml/2006/main">
          <a:solidFill>
            <a:srgbClr val="C00000"/>
          </a:solidFill>
          <a:prstDash val="sysDash"/>
        </a:ln>
      </cdr:spPr>
      <cdr:style>
        <a:lnRef xmlns:a="http://schemas.openxmlformats.org/drawingml/2006/main" idx="2">
          <a:schemeClr val="accent1">
            <a:shade val="15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>
          <a:lvl1pPr marL="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endParaRPr lang="en-US"/>
        </a:p>
      </cdr:txBody>
    </cdr:sp>
  </cdr:relSizeAnchor>
  <cdr:relSizeAnchor xmlns:cdr="http://schemas.openxmlformats.org/drawingml/2006/chartDrawing">
    <cdr:from>
      <cdr:x>0.95117</cdr:x>
      <cdr:y>0.18111</cdr:y>
    </cdr:from>
    <cdr:to>
      <cdr:x>1</cdr:x>
      <cdr:y>0.36917</cdr:y>
    </cdr:to>
    <cdr:sp macro="" textlink="">
      <cdr:nvSpPr>
        <cdr:cNvPr id="4" name="Oval 3">
          <a:extLst xmlns:a="http://schemas.openxmlformats.org/drawingml/2006/main">
            <a:ext uri="{FF2B5EF4-FFF2-40B4-BE49-F238E27FC236}">
              <a16:creationId xmlns:a16="http://schemas.microsoft.com/office/drawing/2014/main" id="{D40812FD-D8E4-6DC7-F15D-5089EC4B4DB5}"/>
            </a:ext>
          </a:extLst>
        </cdr:cNvPr>
        <cdr:cNvSpPr/>
      </cdr:nvSpPr>
      <cdr:spPr>
        <a:xfrm xmlns:a="http://schemas.openxmlformats.org/drawingml/2006/main">
          <a:off x="10823574" y="869425"/>
          <a:ext cx="555625" cy="902801"/>
        </a:xfrm>
        <a:prstGeom xmlns:a="http://schemas.openxmlformats.org/drawingml/2006/main" prst="ellipse">
          <a:avLst/>
        </a:prstGeom>
        <a:noFill xmlns:a="http://schemas.openxmlformats.org/drawingml/2006/main"/>
        <a:ln xmlns:a="http://schemas.openxmlformats.org/drawingml/2006/main">
          <a:solidFill>
            <a:srgbClr val="C00000"/>
          </a:solidFill>
          <a:prstDash val="sysDash"/>
        </a:ln>
      </cdr:spPr>
      <cdr:style>
        <a:lnRef xmlns:a="http://schemas.openxmlformats.org/drawingml/2006/main" idx="2">
          <a:schemeClr val="accent1">
            <a:shade val="15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>
          <a:lvl1pPr marL="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endParaRPr lang="en-US"/>
        </a:p>
      </cdr:txBody>
    </cdr:sp>
  </cdr:relSizeAnchor>
</c:userShapes>
</file>

<file path=ppt/drawings/drawing5.xml><?xml version="1.0" encoding="utf-8"?>
<c:userShapes xmlns:c="http://schemas.openxmlformats.org/drawingml/2006/chart">
  <cdr:relSizeAnchor xmlns:cdr="http://schemas.openxmlformats.org/drawingml/2006/chartDrawing">
    <cdr:from>
      <cdr:x>0.08466</cdr:x>
      <cdr:y>0.24375</cdr:y>
    </cdr:from>
    <cdr:to>
      <cdr:x>0.61464</cdr:x>
      <cdr:y>0.32083</cdr:y>
    </cdr:to>
    <cdr:sp macro="" textlink="">
      <cdr:nvSpPr>
        <cdr:cNvPr id="3" name="Rectangle 1">
          <a:extLst xmlns:a="http://schemas.openxmlformats.org/drawingml/2006/main">
            <a:ext uri="{FF2B5EF4-FFF2-40B4-BE49-F238E27FC236}">
              <a16:creationId xmlns:a16="http://schemas.microsoft.com/office/drawing/2014/main" id="{708653B8-9FFB-1DF2-B7B6-D47B68258FB2}"/>
            </a:ext>
          </a:extLst>
        </cdr:cNvPr>
        <cdr:cNvSpPr/>
      </cdr:nvSpPr>
      <cdr:spPr>
        <a:xfrm xmlns:a="http://schemas.openxmlformats.org/drawingml/2006/main">
          <a:off x="908409" y="1114412"/>
          <a:ext cx="5686779" cy="352442"/>
        </a:xfrm>
        <a:prstGeom xmlns:a="http://schemas.openxmlformats.org/drawingml/2006/main" prst="rect">
          <a:avLst/>
        </a:prstGeom>
        <a:noFill xmlns:a="http://schemas.openxmlformats.org/drawingml/2006/main"/>
      </cdr:spPr>
      <cdr:style>
        <a:lnRef xmlns:a="http://schemas.openxmlformats.org/drawingml/2006/main" idx="2">
          <a:schemeClr val="accent1">
            <a:shade val="15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vertOverflow="clip"/>
        <a:lstStyle xmlns:a="http://schemas.openxmlformats.org/drawingml/2006/main"/>
        <a:p xmlns:a="http://schemas.openxmlformats.org/drawingml/2006/main">
          <a:r>
            <a:rPr lang="en-US" sz="1600" b="1">
              <a:solidFill>
                <a:schemeClr val="tx1"/>
              </a:solidFill>
            </a:rPr>
            <a:t>* S</a:t>
          </a:r>
          <a:r>
            <a:rPr lang="tr-TR" sz="1600" b="1">
              <a:solidFill>
                <a:schemeClr val="tx1"/>
              </a:solidFill>
            </a:rPr>
            <a:t>. </a:t>
          </a:r>
          <a:r>
            <a:rPr lang="en-US" sz="1600" b="1">
              <a:solidFill>
                <a:schemeClr val="tx1"/>
              </a:solidFill>
            </a:rPr>
            <a:t>Africa, Endonesia, Chili, Malaysia, Brasil, Mexica, Türkiye </a:t>
          </a:r>
        </a:p>
      </cdr:txBody>
    </cdr:sp>
  </cdr:relSizeAnchor>
  <cdr:relSizeAnchor xmlns:cdr="http://schemas.openxmlformats.org/drawingml/2006/chartDrawing">
    <cdr:from>
      <cdr:x>0.87207</cdr:x>
      <cdr:y>0.12292</cdr:y>
    </cdr:from>
    <cdr:to>
      <cdr:x>0.9848</cdr:x>
      <cdr:y>0.54792</cdr:y>
    </cdr:to>
    <cdr:cxnSp macro="">
      <cdr:nvCxnSpPr>
        <cdr:cNvPr id="5" name="Straight Arrow Connector 4">
          <a:extLst xmlns:a="http://schemas.openxmlformats.org/drawingml/2006/main">
            <a:ext uri="{FF2B5EF4-FFF2-40B4-BE49-F238E27FC236}">
              <a16:creationId xmlns:a16="http://schemas.microsoft.com/office/drawing/2014/main" id="{F583A8EB-0528-3DC4-CD67-546A6BFEA7FE}"/>
            </a:ext>
          </a:extLst>
        </cdr:cNvPr>
        <cdr:cNvCxnSpPr/>
      </cdr:nvCxnSpPr>
      <cdr:spPr bwMode="auto">
        <a:xfrm xmlns:a="http://schemas.openxmlformats.org/drawingml/2006/main">
          <a:off x="9357438" y="561978"/>
          <a:ext cx="1209675" cy="1943100"/>
        </a:xfrm>
        <a:prstGeom xmlns:a="http://schemas.openxmlformats.org/drawingml/2006/main" prst="straightConnector1">
          <a:avLst/>
        </a:prstGeom>
        <a:solidFill xmlns:a="http://schemas.openxmlformats.org/drawingml/2006/main">
          <a:schemeClr val="accent1"/>
        </a:solidFill>
        <a:ln xmlns:a="http://schemas.openxmlformats.org/drawingml/2006/main" w="15875" cap="flat" cmpd="sng" algn="ctr">
          <a:solidFill>
            <a:srgbClr val="00B0F0"/>
          </a:solidFill>
          <a:prstDash val="sysDash"/>
          <a:round/>
          <a:headEnd type="none" w="med" len="med"/>
          <a:tailEnd type="triangle"/>
        </a:ln>
        <a:effectLst xmlns:a="http://schemas.openxmlformats.org/drawingml/2006/main"/>
      </cdr:spPr>
    </cdr:cxnSp>
  </cdr:relSizeAnchor>
</c:userShap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4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5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6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7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8.bin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15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16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8.xml"/><Relationship Id="rId4" Type="http://schemas.openxmlformats.org/officeDocument/2006/relationships/image" Target="../media/image4.emf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2.bin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3.bin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4.bin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8.xml"/><Relationship Id="rId1" Type="http://schemas.openxmlformats.org/officeDocument/2006/relationships/tags" Target="../tags/tag27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5.bin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6.bin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3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32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34.xml"/><Relationship Id="rId4" Type="http://schemas.openxmlformats.org/officeDocument/2006/relationships/image" Target="../media/image4.emf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0.bin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40.xml"/><Relationship Id="rId1" Type="http://schemas.openxmlformats.org/officeDocument/2006/relationships/tags" Target="../tags/tag39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1.bin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42.xml"/><Relationship Id="rId1" Type="http://schemas.openxmlformats.org/officeDocument/2006/relationships/tags" Target="../tags/tag41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2.bin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3.bin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46.xml"/><Relationship Id="rId1" Type="http://schemas.openxmlformats.org/officeDocument/2006/relationships/tags" Target="../tags/tag45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4.bin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47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48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50.xml"/><Relationship Id="rId4" Type="http://schemas.openxmlformats.org/officeDocument/2006/relationships/image" Target="../media/image4.emf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54.xml"/><Relationship Id="rId1" Type="http://schemas.openxmlformats.org/officeDocument/2006/relationships/tags" Target="../tags/tag53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8.bin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9.bin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58.xml"/><Relationship Id="rId1" Type="http://schemas.openxmlformats.org/officeDocument/2006/relationships/tags" Target="../tags/tag57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30.bin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60.xml"/><Relationship Id="rId1" Type="http://schemas.openxmlformats.org/officeDocument/2006/relationships/tags" Target="../tags/tag59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31.bin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62.xml"/><Relationship Id="rId1" Type="http://schemas.openxmlformats.org/officeDocument/2006/relationships/tags" Target="../tags/tag61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32.bin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8.xml"/><Relationship Id="rId1" Type="http://schemas.openxmlformats.org/officeDocument/2006/relationships/tags" Target="../tags/tag6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8.xml"/><Relationship Id="rId1" Type="http://schemas.openxmlformats.org/officeDocument/2006/relationships/tags" Target="../tags/tag64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Başlık Slaydı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Nesne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6" imgH="416" progId="TCLayout.ActiveDocument.1">
                  <p:embed/>
                </p:oleObj>
              </mc:Choice>
              <mc:Fallback>
                <p:oleObj name="think-cell Slide" r:id="rId3" imgW="416" imgH="416" progId="TCLayout.ActiveDocument.1">
                  <p:embed/>
                  <p:pic>
                    <p:nvPicPr>
                      <p:cNvPr id="4" name="Nesne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1 Başlık"/>
          <p:cNvSpPr>
            <a:spLocks noGrp="1"/>
          </p:cNvSpPr>
          <p:nvPr>
            <p:ph type="ctrTitle"/>
          </p:nvPr>
        </p:nvSpPr>
        <p:spPr>
          <a:xfrm>
            <a:off x="914400" y="2130430"/>
            <a:ext cx="10363200" cy="14700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tr-TR"/>
          </a:p>
        </p:txBody>
      </p:sp>
      <p:sp>
        <p:nvSpPr>
          <p:cNvPr id="3" name="2 Alt Başlık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/>
              <a:t>Click to edit Master subtitle style</a:t>
            </a:r>
            <a:endParaRPr lang="tr-TR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22995AE-6102-443B-9536-DED5237E76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3643670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Başlık, Dikey Met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Başlık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tr-TR"/>
          </a:p>
        </p:txBody>
      </p:sp>
      <p:sp>
        <p:nvSpPr>
          <p:cNvPr id="3" name="2 Dikey Metin Yer Tutucusu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tr-TR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22995AE-6102-443B-9536-DED5237E76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5889067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Dikey Başlık ve Met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Dikey Başlık"/>
          <p:cNvSpPr>
            <a:spLocks noGrp="1"/>
          </p:cNvSpPr>
          <p:nvPr>
            <p:ph type="title" orient="vert"/>
          </p:nvPr>
        </p:nvSpPr>
        <p:spPr>
          <a:xfrm>
            <a:off x="8940800" y="762000"/>
            <a:ext cx="2844800" cy="5791200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tr-TR"/>
          </a:p>
        </p:txBody>
      </p:sp>
      <p:sp>
        <p:nvSpPr>
          <p:cNvPr id="3" name="2 Dikey Metin Yer Tutucusu"/>
          <p:cNvSpPr>
            <a:spLocks noGrp="1"/>
          </p:cNvSpPr>
          <p:nvPr>
            <p:ph type="body" orient="vert" idx="1"/>
          </p:nvPr>
        </p:nvSpPr>
        <p:spPr>
          <a:xfrm>
            <a:off x="406400" y="762000"/>
            <a:ext cx="8331200" cy="579120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tr-TR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22995AE-6102-443B-9536-DED5237E76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7990213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Başlık ve Tab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Başlık"/>
          <p:cNvSpPr>
            <a:spLocks noGrp="1"/>
          </p:cNvSpPr>
          <p:nvPr>
            <p:ph type="title"/>
          </p:nvPr>
        </p:nvSpPr>
        <p:spPr>
          <a:xfrm>
            <a:off x="406400" y="762000"/>
            <a:ext cx="11379200" cy="8382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tr-TR"/>
          </a:p>
        </p:txBody>
      </p:sp>
      <p:sp>
        <p:nvSpPr>
          <p:cNvPr id="3" name="2 Tablo Yer Tutucusu"/>
          <p:cNvSpPr>
            <a:spLocks noGrp="1"/>
          </p:cNvSpPr>
          <p:nvPr>
            <p:ph type="tbl" idx="1"/>
          </p:nvPr>
        </p:nvSpPr>
        <p:spPr>
          <a:xfrm>
            <a:off x="406400" y="1752600"/>
            <a:ext cx="11379200" cy="4800600"/>
          </a:xfrm>
        </p:spPr>
        <p:txBody>
          <a:bodyPr/>
          <a:lstStyle/>
          <a:p>
            <a:pPr lvl="0"/>
            <a:r>
              <a:rPr lang="en-US" noProof="0"/>
              <a:t>Click icon to add table</a:t>
            </a:r>
            <a:endParaRPr lang="tr-TR" noProof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22995AE-6102-443B-9536-DED5237E76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53561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Başlık Slaydı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Nesne 5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6" imgH="416" progId="TCLayout.ActiveDocument.1">
                  <p:embed/>
                </p:oleObj>
              </mc:Choice>
              <mc:Fallback>
                <p:oleObj name="think-cell Slide" r:id="rId4" imgW="416" imgH="416" progId="TCLayout.ActiveDocument.1">
                  <p:embed/>
                  <p:pic>
                    <p:nvPicPr>
                      <p:cNvPr id="6" name="Nesne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ikdörtgen 3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211667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tr-TR" sz="36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anose="020B0604030504040204" pitchFamily="34" charset="0"/>
              <a:ea typeface="+mj-ea"/>
              <a:cs typeface="Arial" panose="020B0604020202020204" pitchFamily="34" charset="0"/>
              <a:sym typeface="Tahoma" panose="020B0604030504040204" pitchFamily="34" charset="0"/>
            </a:endParaRPr>
          </a:p>
        </p:txBody>
      </p:sp>
      <p:sp>
        <p:nvSpPr>
          <p:cNvPr id="2" name="1 Başlık"/>
          <p:cNvSpPr>
            <a:spLocks noGrp="1"/>
          </p:cNvSpPr>
          <p:nvPr>
            <p:ph type="ctrTitle"/>
          </p:nvPr>
        </p:nvSpPr>
        <p:spPr>
          <a:xfrm>
            <a:off x="914400" y="2130428"/>
            <a:ext cx="10363200" cy="14700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tr-TR" dirty="0"/>
          </a:p>
        </p:txBody>
      </p:sp>
      <p:sp>
        <p:nvSpPr>
          <p:cNvPr id="3" name="2 Alt Başlık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/>
              <a:t>Click to edit Master subtitle style</a:t>
            </a:r>
            <a:endParaRPr lang="tr-TR" dirty="0"/>
          </a:p>
        </p:txBody>
      </p:sp>
    </p:spTree>
    <p:extLst>
      <p:ext uri="{BB962C8B-B14F-4D97-AF65-F5344CB8AC3E}">
        <p14:creationId xmlns:p14="http://schemas.microsoft.com/office/powerpoint/2010/main" val="182383824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aşlık ve İçe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Nesne 5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6" imgH="416" progId="TCLayout.ActiveDocument.1">
                  <p:embed/>
                </p:oleObj>
              </mc:Choice>
              <mc:Fallback>
                <p:oleObj name="think-cell Slide" r:id="rId4" imgW="416" imgH="416" progId="TCLayout.ActiveDocument.1">
                  <p:embed/>
                  <p:pic>
                    <p:nvPicPr>
                      <p:cNvPr id="6" name="Nesne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ikdörtgen 3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211667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tr-TR" sz="36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anose="020B0604030504040204" pitchFamily="34" charset="0"/>
              <a:ea typeface="+mj-ea"/>
              <a:cs typeface="Arial" panose="020B0604020202020204" pitchFamily="34" charset="0"/>
              <a:sym typeface="Tahoma" panose="020B0604030504040204" pitchFamily="34" charset="0"/>
            </a:endParaRPr>
          </a:p>
        </p:txBody>
      </p:sp>
      <p:sp>
        <p:nvSpPr>
          <p:cNvPr id="2" name="1 Başlık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tr-TR" dirty="0"/>
          </a:p>
        </p:txBody>
      </p:sp>
      <p:sp>
        <p:nvSpPr>
          <p:cNvPr id="3" name="2 İçerik Yer Tutucusu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tr-TR" dirty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tr-TR"/>
              <a:t>Slayt </a:t>
            </a:r>
            <a:fld id="{800B3A91-13D1-4478-9922-86F5EE8FD7B3}" type="slidenum">
              <a:rPr lang="tr-TR" smtClean="0"/>
              <a:pPr>
                <a:defRPr/>
              </a:pPr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285263013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Bölüm Üstbilgis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Nesne 5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3" imgH="424" progId="TCLayout.ActiveDocument.1">
                  <p:embed/>
                </p:oleObj>
              </mc:Choice>
              <mc:Fallback>
                <p:oleObj name="think-cell Slide" r:id="rId4" imgW="423" imgH="424" progId="TCLayout.ActiveDocument.1">
                  <p:embed/>
                  <p:pic>
                    <p:nvPicPr>
                      <p:cNvPr id="6" name="Nesne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ikdörtgen 3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211667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tr-TR" sz="40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anose="020B0604030504040204" pitchFamily="34" charset="0"/>
              <a:ea typeface="+mj-ea"/>
              <a:cs typeface="Arial" panose="020B0604020202020204" pitchFamily="34" charset="0"/>
              <a:sym typeface="Tahoma" panose="020B0604030504040204" pitchFamily="34" charset="0"/>
            </a:endParaRPr>
          </a:p>
        </p:txBody>
      </p:sp>
      <p:sp>
        <p:nvSpPr>
          <p:cNvPr id="2" name="1 Başlık"/>
          <p:cNvSpPr>
            <a:spLocks noGrp="1"/>
          </p:cNvSpPr>
          <p:nvPr>
            <p:ph type="title"/>
          </p:nvPr>
        </p:nvSpPr>
        <p:spPr>
          <a:xfrm>
            <a:off x="963084" y="4406903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  <a:endParaRPr lang="tr-TR" dirty="0"/>
          </a:p>
        </p:txBody>
      </p:sp>
      <p:sp>
        <p:nvSpPr>
          <p:cNvPr id="3" name="2 Metin Yer Tutucusu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tr-TR"/>
              <a:t>Slayt </a:t>
            </a:r>
            <a:fld id="{800B3A91-13D1-4478-9922-86F5EE8FD7B3}" type="slidenum">
              <a:rPr lang="tr-TR" smtClean="0"/>
              <a:pPr>
                <a:defRPr/>
              </a:pPr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420456167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İki İçe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Nesne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3" imgH="424" progId="TCLayout.ActiveDocument.1">
                  <p:embed/>
                </p:oleObj>
              </mc:Choice>
              <mc:Fallback>
                <p:oleObj name="think-cell Slide" r:id="rId4" imgW="423" imgH="424" progId="TCLayout.ActiveDocument.1">
                  <p:embed/>
                  <p:pic>
                    <p:nvPicPr>
                      <p:cNvPr id="7" name="Nesne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ikdörtgen 4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211667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tr-TR" sz="36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anose="020B0604030504040204" pitchFamily="34" charset="0"/>
              <a:ea typeface="+mj-ea"/>
              <a:cs typeface="Arial" panose="020B0604020202020204" pitchFamily="34" charset="0"/>
              <a:sym typeface="Tahoma" panose="020B0604030504040204" pitchFamily="34" charset="0"/>
            </a:endParaRPr>
          </a:p>
        </p:txBody>
      </p:sp>
      <p:sp>
        <p:nvSpPr>
          <p:cNvPr id="2" name="1 Başlık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tr-TR" dirty="0"/>
          </a:p>
        </p:txBody>
      </p:sp>
      <p:sp>
        <p:nvSpPr>
          <p:cNvPr id="3" name="2 İçerik Yer Tutucusu"/>
          <p:cNvSpPr>
            <a:spLocks noGrp="1"/>
          </p:cNvSpPr>
          <p:nvPr>
            <p:ph sz="half" idx="1"/>
          </p:nvPr>
        </p:nvSpPr>
        <p:spPr>
          <a:xfrm>
            <a:off x="406400" y="1752600"/>
            <a:ext cx="5588000" cy="48006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tr-TR" dirty="0"/>
          </a:p>
        </p:txBody>
      </p:sp>
      <p:sp>
        <p:nvSpPr>
          <p:cNvPr id="4" name="3 İçerik Yer Tutucusu"/>
          <p:cNvSpPr>
            <a:spLocks noGrp="1"/>
          </p:cNvSpPr>
          <p:nvPr>
            <p:ph sz="half" idx="2"/>
          </p:nvPr>
        </p:nvSpPr>
        <p:spPr>
          <a:xfrm>
            <a:off x="6197600" y="1752600"/>
            <a:ext cx="5588000" cy="48006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tr-TR" dirty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tr-TR"/>
              <a:t>Slayt </a:t>
            </a:r>
            <a:fld id="{800B3A91-13D1-4478-9922-86F5EE8FD7B3}" type="slidenum">
              <a:rPr lang="tr-TR" smtClean="0"/>
              <a:pPr>
                <a:defRPr/>
              </a:pPr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326342822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Yalnızca Başlı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Nesne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3" imgH="424" progId="TCLayout.ActiveDocument.1">
                  <p:embed/>
                </p:oleObj>
              </mc:Choice>
              <mc:Fallback>
                <p:oleObj name="think-cell Slide" r:id="rId4" imgW="423" imgH="424" progId="TCLayout.ActiveDocument.1">
                  <p:embed/>
                  <p:pic>
                    <p:nvPicPr>
                      <p:cNvPr id="5" name="Nesne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ikdörtgen 2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211667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tr-TR" sz="36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anose="020B0604030504040204" pitchFamily="34" charset="0"/>
              <a:ea typeface="+mj-ea"/>
              <a:cs typeface="Arial" panose="020B0604020202020204" pitchFamily="34" charset="0"/>
              <a:sym typeface="Tahoma" panose="020B0604030504040204" pitchFamily="34" charset="0"/>
            </a:endParaRPr>
          </a:p>
        </p:txBody>
      </p:sp>
      <p:sp>
        <p:nvSpPr>
          <p:cNvPr id="2" name="1 Başlık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tr-TR" dirty="0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tr-TR"/>
              <a:t>Slayt </a:t>
            </a:r>
            <a:fld id="{800B3A91-13D1-4478-9922-86F5EE8FD7B3}" type="slidenum">
              <a:rPr lang="tr-TR" smtClean="0"/>
              <a:pPr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357197818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tr-TR"/>
              <a:t>Slayt </a:t>
            </a:r>
            <a:fld id="{800B3A91-13D1-4478-9922-86F5EE8FD7B3}" type="slidenum">
              <a:rPr lang="tr-TR" smtClean="0"/>
              <a:pPr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273553632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1" y="6443508"/>
            <a:ext cx="1482051" cy="115416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6" name="FooterSimple" hidden="1"/>
          <p:cNvSpPr txBox="1"/>
          <p:nvPr>
            <p:custDataLst>
              <p:tags r:id="rId1"/>
            </p:custDataLst>
          </p:nvPr>
        </p:nvSpPr>
        <p:spPr>
          <a:xfrm rot="16200000">
            <a:off x="10561320" y="5130005"/>
            <a:ext cx="27432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TOGG_Berat Albayrak sunumu_v8.pptx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353174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550" b="1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2923436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aşlık ve İçe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Başlık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tr-TR"/>
          </a:p>
        </p:txBody>
      </p:sp>
      <p:sp>
        <p:nvSpPr>
          <p:cNvPr id="3" name="2 İçerik Yer Tutucusu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tr-TR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22995AE-6102-443B-9536-DED5237E76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628927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>
          <a:xfrm>
            <a:off x="9677401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30001" y="622802"/>
            <a:ext cx="10933351" cy="332399"/>
          </a:xfrm>
        </p:spPr>
        <p:txBody>
          <a:bodyPr/>
          <a:lstStyle>
            <a:lvl1pPr>
              <a:defRPr b="1"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>
            <p:custDataLst>
              <p:tags r:id="rId1"/>
            </p:custDataLst>
          </p:nvPr>
        </p:nvSpPr>
        <p:spPr>
          <a:xfrm rot="16200000">
            <a:off x="10561320" y="5130004"/>
            <a:ext cx="27432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TOGG - YK sunumu_20181126_v4.pptx</a:t>
            </a:r>
          </a:p>
        </p:txBody>
      </p:sp>
    </p:spTree>
    <p:extLst>
      <p:ext uri="{BB962C8B-B14F-4D97-AF65-F5344CB8AC3E}">
        <p14:creationId xmlns:p14="http://schemas.microsoft.com/office/powerpoint/2010/main" val="18025982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Başlık Slaydı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Nesne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6" imgH="416" progId="TCLayout.ActiveDocument.1">
                  <p:embed/>
                </p:oleObj>
              </mc:Choice>
              <mc:Fallback>
                <p:oleObj name="think-cell Slide" r:id="rId3" imgW="416" imgH="416" progId="TCLayout.ActiveDocument.1">
                  <p:embed/>
                  <p:pic>
                    <p:nvPicPr>
                      <p:cNvPr id="4" name="Nesne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1 Başlık"/>
          <p:cNvSpPr>
            <a:spLocks noGrp="1"/>
          </p:cNvSpPr>
          <p:nvPr>
            <p:ph type="ctrTitle"/>
          </p:nvPr>
        </p:nvSpPr>
        <p:spPr>
          <a:xfrm>
            <a:off x="914400" y="2130430"/>
            <a:ext cx="10363200" cy="14700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tr-TR"/>
          </a:p>
        </p:txBody>
      </p:sp>
      <p:sp>
        <p:nvSpPr>
          <p:cNvPr id="3" name="2 Alt Başlık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/>
              <a:t>Click to edit Master subtitle style</a:t>
            </a:r>
            <a:endParaRPr lang="tr-TR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22995AE-6102-443B-9536-DED5237E76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807064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aşlık ve İçe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Başlık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tr-TR"/>
          </a:p>
        </p:txBody>
      </p:sp>
      <p:sp>
        <p:nvSpPr>
          <p:cNvPr id="3" name="2 İçerik Yer Tutucusu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tr-TR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22995AE-6102-443B-9536-DED5237E76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089684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Bölüm Üstbilgis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Başlık"/>
          <p:cNvSpPr>
            <a:spLocks noGrp="1"/>
          </p:cNvSpPr>
          <p:nvPr>
            <p:ph type="title"/>
          </p:nvPr>
        </p:nvSpPr>
        <p:spPr>
          <a:xfrm>
            <a:off x="963084" y="4406905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  <a:endParaRPr lang="tr-TR"/>
          </a:p>
        </p:txBody>
      </p:sp>
      <p:sp>
        <p:nvSpPr>
          <p:cNvPr id="3" name="2 Metin Yer Tutucusu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22995AE-6102-443B-9536-DED5237E76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4361012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İki İçe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Başlık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tr-TR"/>
          </a:p>
        </p:txBody>
      </p:sp>
      <p:sp>
        <p:nvSpPr>
          <p:cNvPr id="3" name="2 İçerik Yer Tutucusu"/>
          <p:cNvSpPr>
            <a:spLocks noGrp="1"/>
          </p:cNvSpPr>
          <p:nvPr>
            <p:ph sz="half" idx="1"/>
          </p:nvPr>
        </p:nvSpPr>
        <p:spPr>
          <a:xfrm>
            <a:off x="406400" y="1752600"/>
            <a:ext cx="5588000" cy="48006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tr-TR"/>
          </a:p>
        </p:txBody>
      </p:sp>
      <p:sp>
        <p:nvSpPr>
          <p:cNvPr id="4" name="3 İçerik Yer Tutucusu"/>
          <p:cNvSpPr>
            <a:spLocks noGrp="1"/>
          </p:cNvSpPr>
          <p:nvPr>
            <p:ph sz="half" idx="2"/>
          </p:nvPr>
        </p:nvSpPr>
        <p:spPr>
          <a:xfrm>
            <a:off x="6197600" y="1752600"/>
            <a:ext cx="5588000" cy="48006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tr-TR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22995AE-6102-443B-9536-DED5237E76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294105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Karşılaştırm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Başlık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tr-TR"/>
          </a:p>
        </p:txBody>
      </p:sp>
      <p:sp>
        <p:nvSpPr>
          <p:cNvPr id="3" name="2 Metin Yer Tutucusu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3 İçerik Yer Tutucusu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tr-TR"/>
          </a:p>
        </p:txBody>
      </p:sp>
      <p:sp>
        <p:nvSpPr>
          <p:cNvPr id="5" name="4 Metin Yer Tutucusu"/>
          <p:cNvSpPr>
            <a:spLocks noGrp="1"/>
          </p:cNvSpPr>
          <p:nvPr>
            <p:ph type="body" sz="quarter" idx="3"/>
          </p:nvPr>
        </p:nvSpPr>
        <p:spPr>
          <a:xfrm>
            <a:off x="6193370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5 İçerik Yer Tutucusu"/>
          <p:cNvSpPr>
            <a:spLocks noGrp="1"/>
          </p:cNvSpPr>
          <p:nvPr>
            <p:ph sz="quarter" idx="4"/>
          </p:nvPr>
        </p:nvSpPr>
        <p:spPr>
          <a:xfrm>
            <a:off x="6193370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tr-TR"/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22995AE-6102-443B-9536-DED5237E76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195463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Yalnızca Başlı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Başlık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tr-TR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22995AE-6102-443B-9536-DED5237E76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8955620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o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22995AE-6102-443B-9536-DED5237E76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848736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Başlıklı İçe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Başlık"/>
          <p:cNvSpPr>
            <a:spLocks noGrp="1"/>
          </p:cNvSpPr>
          <p:nvPr>
            <p:ph type="title"/>
          </p:nvPr>
        </p:nvSpPr>
        <p:spPr>
          <a:xfrm>
            <a:off x="609603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tr-TR"/>
          </a:p>
        </p:txBody>
      </p:sp>
      <p:sp>
        <p:nvSpPr>
          <p:cNvPr id="3" name="2 İçerik Yer Tutucusu"/>
          <p:cNvSpPr>
            <a:spLocks noGrp="1"/>
          </p:cNvSpPr>
          <p:nvPr>
            <p:ph idx="1"/>
          </p:nvPr>
        </p:nvSpPr>
        <p:spPr>
          <a:xfrm>
            <a:off x="4766733" y="273055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tr-TR"/>
          </a:p>
        </p:txBody>
      </p:sp>
      <p:sp>
        <p:nvSpPr>
          <p:cNvPr id="4" name="3 Metin Yer Tutucusu"/>
          <p:cNvSpPr>
            <a:spLocks noGrp="1"/>
          </p:cNvSpPr>
          <p:nvPr>
            <p:ph type="body" sz="half" idx="2"/>
          </p:nvPr>
        </p:nvSpPr>
        <p:spPr>
          <a:xfrm>
            <a:off x="609603" y="1435103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22995AE-6102-443B-9536-DED5237E76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631143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aşlıklı Resi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Başlık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tr-TR"/>
          </a:p>
        </p:txBody>
      </p:sp>
      <p:sp>
        <p:nvSpPr>
          <p:cNvPr id="3" name="2 Resim Yer Tutucusu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/>
              <a:t>Click icon to add picture</a:t>
            </a:r>
            <a:endParaRPr lang="tr-TR" noProof="0"/>
          </a:p>
        </p:txBody>
      </p:sp>
      <p:sp>
        <p:nvSpPr>
          <p:cNvPr id="4" name="3 Metin Yer Tutucusu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22995AE-6102-443B-9536-DED5237E76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9961190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Bölüm Üstbilgis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Başlık"/>
          <p:cNvSpPr>
            <a:spLocks noGrp="1"/>
          </p:cNvSpPr>
          <p:nvPr>
            <p:ph type="title"/>
          </p:nvPr>
        </p:nvSpPr>
        <p:spPr>
          <a:xfrm>
            <a:off x="963084" y="4406905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  <a:endParaRPr lang="tr-TR"/>
          </a:p>
        </p:txBody>
      </p:sp>
      <p:sp>
        <p:nvSpPr>
          <p:cNvPr id="3" name="2 Metin Yer Tutucusu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22995AE-6102-443B-9536-DED5237E76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500227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Başlık, Dikey Met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Başlık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tr-TR"/>
          </a:p>
        </p:txBody>
      </p:sp>
      <p:sp>
        <p:nvSpPr>
          <p:cNvPr id="3" name="2 Dikey Metin Yer Tutucusu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tr-TR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22995AE-6102-443B-9536-DED5237E76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9801000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Dikey Başlık ve Met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Dikey Başlık"/>
          <p:cNvSpPr>
            <a:spLocks noGrp="1"/>
          </p:cNvSpPr>
          <p:nvPr>
            <p:ph type="title" orient="vert"/>
          </p:nvPr>
        </p:nvSpPr>
        <p:spPr>
          <a:xfrm>
            <a:off x="8940800" y="762000"/>
            <a:ext cx="2844800" cy="5791200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tr-TR"/>
          </a:p>
        </p:txBody>
      </p:sp>
      <p:sp>
        <p:nvSpPr>
          <p:cNvPr id="3" name="2 Dikey Metin Yer Tutucusu"/>
          <p:cNvSpPr>
            <a:spLocks noGrp="1"/>
          </p:cNvSpPr>
          <p:nvPr>
            <p:ph type="body" orient="vert" idx="1"/>
          </p:nvPr>
        </p:nvSpPr>
        <p:spPr>
          <a:xfrm>
            <a:off x="406400" y="762000"/>
            <a:ext cx="8331200" cy="579120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tr-TR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22995AE-6102-443B-9536-DED5237E76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6530563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Başlık ve Tab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Başlık"/>
          <p:cNvSpPr>
            <a:spLocks noGrp="1"/>
          </p:cNvSpPr>
          <p:nvPr>
            <p:ph type="title"/>
          </p:nvPr>
        </p:nvSpPr>
        <p:spPr>
          <a:xfrm>
            <a:off x="406400" y="762000"/>
            <a:ext cx="11379200" cy="8382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tr-TR"/>
          </a:p>
        </p:txBody>
      </p:sp>
      <p:sp>
        <p:nvSpPr>
          <p:cNvPr id="3" name="2 Tablo Yer Tutucusu"/>
          <p:cNvSpPr>
            <a:spLocks noGrp="1"/>
          </p:cNvSpPr>
          <p:nvPr>
            <p:ph type="tbl" idx="1"/>
          </p:nvPr>
        </p:nvSpPr>
        <p:spPr>
          <a:xfrm>
            <a:off x="406400" y="1752600"/>
            <a:ext cx="11379200" cy="4800600"/>
          </a:xfrm>
        </p:spPr>
        <p:txBody>
          <a:bodyPr/>
          <a:lstStyle/>
          <a:p>
            <a:pPr lvl="0"/>
            <a:r>
              <a:rPr lang="en-US" noProof="0"/>
              <a:t>Click icon to add table</a:t>
            </a:r>
            <a:endParaRPr lang="tr-TR" noProof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22995AE-6102-443B-9536-DED5237E76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7147082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Başlık Slaydı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Nesne 5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6" imgH="416" progId="TCLayout.ActiveDocument.1">
                  <p:embed/>
                </p:oleObj>
              </mc:Choice>
              <mc:Fallback>
                <p:oleObj name="think-cell Slide" r:id="rId4" imgW="416" imgH="416" progId="TCLayout.ActiveDocument.1">
                  <p:embed/>
                  <p:pic>
                    <p:nvPicPr>
                      <p:cNvPr id="6" name="Nesne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ikdörtgen 3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211667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tr-TR" sz="36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anose="020B0604030504040204" pitchFamily="34" charset="0"/>
              <a:ea typeface="+mj-ea"/>
              <a:cs typeface="Arial" panose="020B0604020202020204" pitchFamily="34" charset="0"/>
              <a:sym typeface="Tahoma" panose="020B0604030504040204" pitchFamily="34" charset="0"/>
            </a:endParaRPr>
          </a:p>
        </p:txBody>
      </p:sp>
      <p:sp>
        <p:nvSpPr>
          <p:cNvPr id="2" name="1 Başlık"/>
          <p:cNvSpPr>
            <a:spLocks noGrp="1"/>
          </p:cNvSpPr>
          <p:nvPr>
            <p:ph type="ctrTitle"/>
          </p:nvPr>
        </p:nvSpPr>
        <p:spPr>
          <a:xfrm>
            <a:off x="914400" y="2130428"/>
            <a:ext cx="10363200" cy="14700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tr-TR" dirty="0"/>
          </a:p>
        </p:txBody>
      </p:sp>
      <p:sp>
        <p:nvSpPr>
          <p:cNvPr id="3" name="2 Alt Başlık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/>
              <a:t>Click to edit Master subtitle style</a:t>
            </a:r>
            <a:endParaRPr lang="tr-TR" dirty="0"/>
          </a:p>
        </p:txBody>
      </p:sp>
    </p:spTree>
    <p:extLst>
      <p:ext uri="{BB962C8B-B14F-4D97-AF65-F5344CB8AC3E}">
        <p14:creationId xmlns:p14="http://schemas.microsoft.com/office/powerpoint/2010/main" val="18266786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aşlık ve İçe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Nesne 5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6" imgH="416" progId="TCLayout.ActiveDocument.1">
                  <p:embed/>
                </p:oleObj>
              </mc:Choice>
              <mc:Fallback>
                <p:oleObj name="think-cell Slide" r:id="rId4" imgW="416" imgH="416" progId="TCLayout.ActiveDocument.1">
                  <p:embed/>
                  <p:pic>
                    <p:nvPicPr>
                      <p:cNvPr id="6" name="Nesne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ikdörtgen 3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211667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tr-TR" sz="36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anose="020B0604030504040204" pitchFamily="34" charset="0"/>
              <a:ea typeface="+mj-ea"/>
              <a:cs typeface="Arial" panose="020B0604020202020204" pitchFamily="34" charset="0"/>
              <a:sym typeface="Tahoma" panose="020B0604030504040204" pitchFamily="34" charset="0"/>
            </a:endParaRPr>
          </a:p>
        </p:txBody>
      </p:sp>
      <p:sp>
        <p:nvSpPr>
          <p:cNvPr id="2" name="1 Başlık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tr-TR" dirty="0"/>
          </a:p>
        </p:txBody>
      </p:sp>
      <p:sp>
        <p:nvSpPr>
          <p:cNvPr id="3" name="2 İçerik Yer Tutucusu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tr-TR" dirty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tr-TR"/>
              <a:t>Slayt </a:t>
            </a:r>
            <a:fld id="{800B3A91-13D1-4478-9922-86F5EE8FD7B3}" type="slidenum">
              <a:rPr lang="tr-TR" smtClean="0"/>
              <a:pPr>
                <a:defRPr/>
              </a:pPr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2696674431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Bölüm Üstbilgis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Nesne 5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3" imgH="424" progId="TCLayout.ActiveDocument.1">
                  <p:embed/>
                </p:oleObj>
              </mc:Choice>
              <mc:Fallback>
                <p:oleObj name="think-cell Slide" r:id="rId4" imgW="423" imgH="424" progId="TCLayout.ActiveDocument.1">
                  <p:embed/>
                  <p:pic>
                    <p:nvPicPr>
                      <p:cNvPr id="6" name="Nesne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ikdörtgen 3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211667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tr-TR" sz="40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anose="020B0604030504040204" pitchFamily="34" charset="0"/>
              <a:ea typeface="+mj-ea"/>
              <a:cs typeface="Arial" panose="020B0604020202020204" pitchFamily="34" charset="0"/>
              <a:sym typeface="Tahoma" panose="020B0604030504040204" pitchFamily="34" charset="0"/>
            </a:endParaRPr>
          </a:p>
        </p:txBody>
      </p:sp>
      <p:sp>
        <p:nvSpPr>
          <p:cNvPr id="2" name="1 Başlık"/>
          <p:cNvSpPr>
            <a:spLocks noGrp="1"/>
          </p:cNvSpPr>
          <p:nvPr>
            <p:ph type="title"/>
          </p:nvPr>
        </p:nvSpPr>
        <p:spPr>
          <a:xfrm>
            <a:off x="963084" y="4406903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  <a:endParaRPr lang="tr-TR" dirty="0"/>
          </a:p>
        </p:txBody>
      </p:sp>
      <p:sp>
        <p:nvSpPr>
          <p:cNvPr id="3" name="2 Metin Yer Tutucusu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tr-TR"/>
              <a:t>Slayt </a:t>
            </a:r>
            <a:fld id="{800B3A91-13D1-4478-9922-86F5EE8FD7B3}" type="slidenum">
              <a:rPr lang="tr-TR" smtClean="0"/>
              <a:pPr>
                <a:defRPr/>
              </a:pPr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52888072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İki İçe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Nesne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3" imgH="424" progId="TCLayout.ActiveDocument.1">
                  <p:embed/>
                </p:oleObj>
              </mc:Choice>
              <mc:Fallback>
                <p:oleObj name="think-cell Slide" r:id="rId4" imgW="423" imgH="424" progId="TCLayout.ActiveDocument.1">
                  <p:embed/>
                  <p:pic>
                    <p:nvPicPr>
                      <p:cNvPr id="7" name="Nesne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ikdörtgen 4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211667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tr-TR" sz="36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anose="020B0604030504040204" pitchFamily="34" charset="0"/>
              <a:ea typeface="+mj-ea"/>
              <a:cs typeface="Arial" panose="020B0604020202020204" pitchFamily="34" charset="0"/>
              <a:sym typeface="Tahoma" panose="020B0604030504040204" pitchFamily="34" charset="0"/>
            </a:endParaRPr>
          </a:p>
        </p:txBody>
      </p:sp>
      <p:sp>
        <p:nvSpPr>
          <p:cNvPr id="2" name="1 Başlık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tr-TR" dirty="0"/>
          </a:p>
        </p:txBody>
      </p:sp>
      <p:sp>
        <p:nvSpPr>
          <p:cNvPr id="3" name="2 İçerik Yer Tutucusu"/>
          <p:cNvSpPr>
            <a:spLocks noGrp="1"/>
          </p:cNvSpPr>
          <p:nvPr>
            <p:ph sz="half" idx="1"/>
          </p:nvPr>
        </p:nvSpPr>
        <p:spPr>
          <a:xfrm>
            <a:off x="406400" y="1752600"/>
            <a:ext cx="5588000" cy="48006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tr-TR" dirty="0"/>
          </a:p>
        </p:txBody>
      </p:sp>
      <p:sp>
        <p:nvSpPr>
          <p:cNvPr id="4" name="3 İçerik Yer Tutucusu"/>
          <p:cNvSpPr>
            <a:spLocks noGrp="1"/>
          </p:cNvSpPr>
          <p:nvPr>
            <p:ph sz="half" idx="2"/>
          </p:nvPr>
        </p:nvSpPr>
        <p:spPr>
          <a:xfrm>
            <a:off x="6197600" y="1752600"/>
            <a:ext cx="5588000" cy="48006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tr-TR" dirty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tr-TR"/>
              <a:t>Slayt </a:t>
            </a:r>
            <a:fld id="{800B3A91-13D1-4478-9922-86F5EE8FD7B3}" type="slidenum">
              <a:rPr lang="tr-TR" smtClean="0"/>
              <a:pPr>
                <a:defRPr/>
              </a:pPr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2654908586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Yalnızca Başlı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Nesne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3" imgH="424" progId="TCLayout.ActiveDocument.1">
                  <p:embed/>
                </p:oleObj>
              </mc:Choice>
              <mc:Fallback>
                <p:oleObj name="think-cell Slide" r:id="rId4" imgW="423" imgH="424" progId="TCLayout.ActiveDocument.1">
                  <p:embed/>
                  <p:pic>
                    <p:nvPicPr>
                      <p:cNvPr id="5" name="Nesne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ikdörtgen 2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211667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tr-TR" sz="36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anose="020B0604030504040204" pitchFamily="34" charset="0"/>
              <a:ea typeface="+mj-ea"/>
              <a:cs typeface="Arial" panose="020B0604020202020204" pitchFamily="34" charset="0"/>
              <a:sym typeface="Tahoma" panose="020B0604030504040204" pitchFamily="34" charset="0"/>
            </a:endParaRPr>
          </a:p>
        </p:txBody>
      </p:sp>
      <p:sp>
        <p:nvSpPr>
          <p:cNvPr id="2" name="1 Başlık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tr-TR" dirty="0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tr-TR"/>
              <a:t>Slayt </a:t>
            </a:r>
            <a:fld id="{800B3A91-13D1-4478-9922-86F5EE8FD7B3}" type="slidenum">
              <a:rPr lang="tr-TR" smtClean="0"/>
              <a:pPr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83371359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tr-TR"/>
              <a:t>Slayt </a:t>
            </a:r>
            <a:fld id="{800B3A91-13D1-4478-9922-86F5EE8FD7B3}" type="slidenum">
              <a:rPr lang="tr-TR" smtClean="0"/>
              <a:pPr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402549382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1" y="6443508"/>
            <a:ext cx="1482051" cy="115416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6" name="FooterSimple" hidden="1"/>
          <p:cNvSpPr txBox="1"/>
          <p:nvPr>
            <p:custDataLst>
              <p:tags r:id="rId1"/>
            </p:custDataLst>
          </p:nvPr>
        </p:nvSpPr>
        <p:spPr>
          <a:xfrm rot="16200000">
            <a:off x="10561320" y="5130005"/>
            <a:ext cx="27432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TOGG_Berat Albayrak sunumu_v8.pptx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353174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550" b="1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0532826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İki İçe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Başlık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tr-TR"/>
          </a:p>
        </p:txBody>
      </p:sp>
      <p:sp>
        <p:nvSpPr>
          <p:cNvPr id="3" name="2 İçerik Yer Tutucusu"/>
          <p:cNvSpPr>
            <a:spLocks noGrp="1"/>
          </p:cNvSpPr>
          <p:nvPr>
            <p:ph sz="half" idx="1"/>
          </p:nvPr>
        </p:nvSpPr>
        <p:spPr>
          <a:xfrm>
            <a:off x="406400" y="1752600"/>
            <a:ext cx="5588000" cy="48006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tr-TR"/>
          </a:p>
        </p:txBody>
      </p:sp>
      <p:sp>
        <p:nvSpPr>
          <p:cNvPr id="4" name="3 İçerik Yer Tutucusu"/>
          <p:cNvSpPr>
            <a:spLocks noGrp="1"/>
          </p:cNvSpPr>
          <p:nvPr>
            <p:ph sz="half" idx="2"/>
          </p:nvPr>
        </p:nvSpPr>
        <p:spPr>
          <a:xfrm>
            <a:off x="6197600" y="1752600"/>
            <a:ext cx="5588000" cy="48006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tr-TR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22995AE-6102-443B-9536-DED5237E76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90808564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>
          <a:xfrm>
            <a:off x="9677401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30001" y="622802"/>
            <a:ext cx="10933351" cy="332399"/>
          </a:xfrm>
        </p:spPr>
        <p:txBody>
          <a:bodyPr/>
          <a:lstStyle>
            <a:lvl1pPr>
              <a:defRPr b="1"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>
            <p:custDataLst>
              <p:tags r:id="rId1"/>
            </p:custDataLst>
          </p:nvPr>
        </p:nvSpPr>
        <p:spPr>
          <a:xfrm rot="16200000">
            <a:off x="10561320" y="5130004"/>
            <a:ext cx="27432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TOGG - YK sunumu_20181126_v4.pptx</a:t>
            </a:r>
          </a:p>
        </p:txBody>
      </p:sp>
    </p:spTree>
    <p:extLst>
      <p:ext uri="{BB962C8B-B14F-4D97-AF65-F5344CB8AC3E}">
        <p14:creationId xmlns:p14="http://schemas.microsoft.com/office/powerpoint/2010/main" val="14115336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Başlık Slaydı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Nesne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6" imgH="416" progId="TCLayout.ActiveDocument.1">
                  <p:embed/>
                </p:oleObj>
              </mc:Choice>
              <mc:Fallback>
                <p:oleObj name="think-cell Slide" r:id="rId3" imgW="416" imgH="416" progId="TCLayout.ActiveDocument.1">
                  <p:embed/>
                  <p:pic>
                    <p:nvPicPr>
                      <p:cNvPr id="4" name="Nesne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1 Başlık"/>
          <p:cNvSpPr>
            <a:spLocks noGrp="1"/>
          </p:cNvSpPr>
          <p:nvPr>
            <p:ph type="ctrTitle"/>
          </p:nvPr>
        </p:nvSpPr>
        <p:spPr>
          <a:xfrm>
            <a:off x="914400" y="2130430"/>
            <a:ext cx="10363200" cy="14700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tr-TR"/>
          </a:p>
        </p:txBody>
      </p:sp>
      <p:sp>
        <p:nvSpPr>
          <p:cNvPr id="3" name="2 Alt Başlık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/>
              <a:t>Click to edit Master subtitle style</a:t>
            </a:r>
            <a:endParaRPr lang="tr-TR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F302176B-0E47-46AC-8F43-DAB4B8A37D06}" type="slidenum">
              <a:rPr lang="tr-TR" smtClean="0"/>
              <a:pPr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3881501429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aşlık ve İçe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Başlık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tr-TR"/>
          </a:p>
        </p:txBody>
      </p:sp>
      <p:sp>
        <p:nvSpPr>
          <p:cNvPr id="3" name="2 İçerik Yer Tutucusu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tr-TR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tr-TR"/>
              <a:t>Slayt </a:t>
            </a:r>
            <a:fld id="{800B3A91-13D1-4478-9922-86F5EE8FD7B3}" type="slidenum">
              <a:rPr lang="tr-TR" smtClean="0"/>
              <a:pPr>
                <a:defRPr/>
              </a:pPr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1981367060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Bölüm Üstbilgis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Başlık"/>
          <p:cNvSpPr>
            <a:spLocks noGrp="1"/>
          </p:cNvSpPr>
          <p:nvPr>
            <p:ph type="title"/>
          </p:nvPr>
        </p:nvSpPr>
        <p:spPr>
          <a:xfrm>
            <a:off x="963084" y="4406905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  <a:endParaRPr lang="tr-TR"/>
          </a:p>
        </p:txBody>
      </p:sp>
      <p:sp>
        <p:nvSpPr>
          <p:cNvPr id="3" name="2 Metin Yer Tutucusu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tr-TR"/>
              <a:t>Slayt </a:t>
            </a:r>
            <a:fld id="{800B3A91-13D1-4478-9922-86F5EE8FD7B3}" type="slidenum">
              <a:rPr lang="tr-TR" smtClean="0"/>
              <a:pPr>
                <a:defRPr/>
              </a:pPr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3986350555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İki İçe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Başlık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tr-TR"/>
          </a:p>
        </p:txBody>
      </p:sp>
      <p:sp>
        <p:nvSpPr>
          <p:cNvPr id="3" name="2 İçerik Yer Tutucusu"/>
          <p:cNvSpPr>
            <a:spLocks noGrp="1"/>
          </p:cNvSpPr>
          <p:nvPr>
            <p:ph sz="half" idx="1"/>
          </p:nvPr>
        </p:nvSpPr>
        <p:spPr>
          <a:xfrm>
            <a:off x="406400" y="1752600"/>
            <a:ext cx="5588000" cy="48006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tr-TR"/>
          </a:p>
        </p:txBody>
      </p:sp>
      <p:sp>
        <p:nvSpPr>
          <p:cNvPr id="4" name="3 İçerik Yer Tutucusu"/>
          <p:cNvSpPr>
            <a:spLocks noGrp="1"/>
          </p:cNvSpPr>
          <p:nvPr>
            <p:ph sz="half" idx="2"/>
          </p:nvPr>
        </p:nvSpPr>
        <p:spPr>
          <a:xfrm>
            <a:off x="6197600" y="1752600"/>
            <a:ext cx="5588000" cy="48006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tr-TR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tr-TR"/>
              <a:t>Slayt </a:t>
            </a:r>
            <a:fld id="{800B3A91-13D1-4478-9922-86F5EE8FD7B3}" type="slidenum">
              <a:rPr lang="tr-TR" smtClean="0"/>
              <a:pPr>
                <a:defRPr/>
              </a:pPr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3150296529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Karşılaştırm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Başlık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tr-TR"/>
          </a:p>
        </p:txBody>
      </p:sp>
      <p:sp>
        <p:nvSpPr>
          <p:cNvPr id="3" name="2 Metin Yer Tutucusu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3 İçerik Yer Tutucusu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tr-TR"/>
          </a:p>
        </p:txBody>
      </p:sp>
      <p:sp>
        <p:nvSpPr>
          <p:cNvPr id="5" name="4 Metin Yer Tutucusu"/>
          <p:cNvSpPr>
            <a:spLocks noGrp="1"/>
          </p:cNvSpPr>
          <p:nvPr>
            <p:ph type="body" sz="quarter" idx="3"/>
          </p:nvPr>
        </p:nvSpPr>
        <p:spPr>
          <a:xfrm>
            <a:off x="6193370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5 İçerik Yer Tutucusu"/>
          <p:cNvSpPr>
            <a:spLocks noGrp="1"/>
          </p:cNvSpPr>
          <p:nvPr>
            <p:ph sz="quarter" idx="4"/>
          </p:nvPr>
        </p:nvSpPr>
        <p:spPr>
          <a:xfrm>
            <a:off x="6193370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tr-TR"/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tr-TR"/>
              <a:t>Slayt </a:t>
            </a:r>
            <a:fld id="{800B3A91-13D1-4478-9922-86F5EE8FD7B3}" type="slidenum">
              <a:rPr lang="tr-TR" smtClean="0"/>
              <a:pPr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1345037935"/>
      </p:ext>
    </p:extLst>
  </p:cSld>
  <p:clrMapOvr>
    <a:masterClrMapping/>
  </p:clrMapOvr>
  <p:hf hdr="0" ftr="0" dt="0"/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Yalnızca Başlı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Başlık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tr-TR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tr-TR"/>
              <a:t>Slayt </a:t>
            </a:r>
            <a:fld id="{800B3A91-13D1-4478-9922-86F5EE8FD7B3}" type="slidenum">
              <a:rPr lang="tr-TR" smtClean="0"/>
              <a:pPr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4065334803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o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tr-TR"/>
              <a:t>Slayt </a:t>
            </a:r>
            <a:fld id="{800B3A91-13D1-4478-9922-86F5EE8FD7B3}" type="slidenum">
              <a:rPr lang="tr-TR" smtClean="0"/>
              <a:pPr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4223150413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Başlıklı İçe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Başlık"/>
          <p:cNvSpPr>
            <a:spLocks noGrp="1"/>
          </p:cNvSpPr>
          <p:nvPr>
            <p:ph type="title"/>
          </p:nvPr>
        </p:nvSpPr>
        <p:spPr>
          <a:xfrm>
            <a:off x="609603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tr-TR"/>
          </a:p>
        </p:txBody>
      </p:sp>
      <p:sp>
        <p:nvSpPr>
          <p:cNvPr id="3" name="2 İçerik Yer Tutucusu"/>
          <p:cNvSpPr>
            <a:spLocks noGrp="1"/>
          </p:cNvSpPr>
          <p:nvPr>
            <p:ph idx="1"/>
          </p:nvPr>
        </p:nvSpPr>
        <p:spPr>
          <a:xfrm>
            <a:off x="4766733" y="273055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tr-TR"/>
          </a:p>
        </p:txBody>
      </p:sp>
      <p:sp>
        <p:nvSpPr>
          <p:cNvPr id="4" name="3 Metin Yer Tutucusu"/>
          <p:cNvSpPr>
            <a:spLocks noGrp="1"/>
          </p:cNvSpPr>
          <p:nvPr>
            <p:ph type="body" sz="half" idx="2"/>
          </p:nvPr>
        </p:nvSpPr>
        <p:spPr>
          <a:xfrm>
            <a:off x="609603" y="1435103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tr-TR"/>
              <a:t>Slayt </a:t>
            </a:r>
            <a:fld id="{800B3A91-13D1-4478-9922-86F5EE8FD7B3}" type="slidenum">
              <a:rPr lang="tr-TR" smtClean="0"/>
              <a:pPr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397228323"/>
      </p:ext>
    </p:extLst>
  </p:cSld>
  <p:clrMapOvr>
    <a:masterClrMapping/>
  </p:clrMapOvr>
  <p:hf hdr="0" ftr="0" dt="0"/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aşlıklı Resi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Başlık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tr-TR"/>
          </a:p>
        </p:txBody>
      </p:sp>
      <p:sp>
        <p:nvSpPr>
          <p:cNvPr id="3" name="2 Resim Yer Tutucusu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/>
              <a:t>Click icon to add picture</a:t>
            </a:r>
            <a:endParaRPr lang="tr-TR" noProof="0"/>
          </a:p>
        </p:txBody>
      </p:sp>
      <p:sp>
        <p:nvSpPr>
          <p:cNvPr id="4" name="3 Metin Yer Tutucusu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tr-TR"/>
              <a:t>Slayt </a:t>
            </a:r>
            <a:fld id="{800B3A91-13D1-4478-9922-86F5EE8FD7B3}" type="slidenum">
              <a:rPr lang="tr-TR" smtClean="0"/>
              <a:pPr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1531514121"/>
      </p:ext>
    </p:extLst>
  </p:cSld>
  <p:clrMapOvr>
    <a:masterClrMapping/>
  </p:clrMapOvr>
  <p:hf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Karşılaştırm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Başlık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tr-TR"/>
          </a:p>
        </p:txBody>
      </p:sp>
      <p:sp>
        <p:nvSpPr>
          <p:cNvPr id="3" name="2 Metin Yer Tutucusu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3 İçerik Yer Tutucusu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tr-TR"/>
          </a:p>
        </p:txBody>
      </p:sp>
      <p:sp>
        <p:nvSpPr>
          <p:cNvPr id="5" name="4 Metin Yer Tutucusu"/>
          <p:cNvSpPr>
            <a:spLocks noGrp="1"/>
          </p:cNvSpPr>
          <p:nvPr>
            <p:ph type="body" sz="quarter" idx="3"/>
          </p:nvPr>
        </p:nvSpPr>
        <p:spPr>
          <a:xfrm>
            <a:off x="6193370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5 İçerik Yer Tutucusu"/>
          <p:cNvSpPr>
            <a:spLocks noGrp="1"/>
          </p:cNvSpPr>
          <p:nvPr>
            <p:ph sz="quarter" idx="4"/>
          </p:nvPr>
        </p:nvSpPr>
        <p:spPr>
          <a:xfrm>
            <a:off x="6193370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tr-TR"/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22995AE-6102-443B-9536-DED5237E76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653294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Başlık, Dikey Met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Başlık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tr-TR"/>
          </a:p>
        </p:txBody>
      </p:sp>
      <p:sp>
        <p:nvSpPr>
          <p:cNvPr id="3" name="2 Dikey Metin Yer Tutucusu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tr-TR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tr-TR"/>
              <a:t>Slayt </a:t>
            </a:r>
            <a:fld id="{800B3A91-13D1-4478-9922-86F5EE8FD7B3}" type="slidenum">
              <a:rPr lang="tr-TR" smtClean="0"/>
              <a:pPr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3900047081"/>
      </p:ext>
    </p:extLst>
  </p:cSld>
  <p:clrMapOvr>
    <a:masterClrMapping/>
  </p:clrMapOvr>
  <p:hf hdr="0" ftr="0" dt="0"/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Dikey Başlık ve Met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Dikey Başlık"/>
          <p:cNvSpPr>
            <a:spLocks noGrp="1"/>
          </p:cNvSpPr>
          <p:nvPr>
            <p:ph type="title" orient="vert"/>
          </p:nvPr>
        </p:nvSpPr>
        <p:spPr>
          <a:xfrm>
            <a:off x="8940800" y="762000"/>
            <a:ext cx="2844800" cy="5791200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tr-TR"/>
          </a:p>
        </p:txBody>
      </p:sp>
      <p:sp>
        <p:nvSpPr>
          <p:cNvPr id="3" name="2 Dikey Metin Yer Tutucusu"/>
          <p:cNvSpPr>
            <a:spLocks noGrp="1"/>
          </p:cNvSpPr>
          <p:nvPr>
            <p:ph type="body" orient="vert" idx="1"/>
          </p:nvPr>
        </p:nvSpPr>
        <p:spPr>
          <a:xfrm>
            <a:off x="406400" y="762000"/>
            <a:ext cx="8331200" cy="579120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tr-TR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tr-TR"/>
              <a:t>Slayt </a:t>
            </a:r>
            <a:fld id="{800B3A91-13D1-4478-9922-86F5EE8FD7B3}" type="slidenum">
              <a:rPr lang="tr-TR" smtClean="0"/>
              <a:pPr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3775214978"/>
      </p:ext>
    </p:extLst>
  </p:cSld>
  <p:clrMapOvr>
    <a:masterClrMapping/>
  </p:clrMapOvr>
  <p:hf hdr="0" ftr="0" dt="0"/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Başlık ve Tab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Başlık"/>
          <p:cNvSpPr>
            <a:spLocks noGrp="1"/>
          </p:cNvSpPr>
          <p:nvPr>
            <p:ph type="title"/>
          </p:nvPr>
        </p:nvSpPr>
        <p:spPr>
          <a:xfrm>
            <a:off x="406400" y="762000"/>
            <a:ext cx="11379200" cy="8382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tr-TR"/>
          </a:p>
        </p:txBody>
      </p:sp>
      <p:sp>
        <p:nvSpPr>
          <p:cNvPr id="3" name="2 Tablo Yer Tutucusu"/>
          <p:cNvSpPr>
            <a:spLocks noGrp="1"/>
          </p:cNvSpPr>
          <p:nvPr>
            <p:ph type="tbl" idx="1"/>
          </p:nvPr>
        </p:nvSpPr>
        <p:spPr>
          <a:xfrm>
            <a:off x="406400" y="1752600"/>
            <a:ext cx="11379200" cy="4800600"/>
          </a:xfrm>
        </p:spPr>
        <p:txBody>
          <a:bodyPr/>
          <a:lstStyle/>
          <a:p>
            <a:pPr lvl="0"/>
            <a:r>
              <a:rPr lang="en-US" noProof="0"/>
              <a:t>Click icon to add table</a:t>
            </a:r>
            <a:endParaRPr lang="tr-TR" noProof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tr-TR"/>
              <a:t>Slayt </a:t>
            </a:r>
            <a:fld id="{800B3A91-13D1-4478-9922-86F5EE8FD7B3}" type="slidenum">
              <a:rPr lang="tr-TR" smtClean="0"/>
              <a:pPr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2020820933"/>
      </p:ext>
    </p:extLst>
  </p:cSld>
  <p:clrMapOvr>
    <a:masterClrMapping/>
  </p:clrMapOvr>
  <p:hf hdr="0" ftr="0" dt="0"/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Başlık Slaydı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Nesne 5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6" imgH="416" progId="TCLayout.ActiveDocument.1">
                  <p:embed/>
                </p:oleObj>
              </mc:Choice>
              <mc:Fallback>
                <p:oleObj name="think-cell Slide" r:id="rId4" imgW="416" imgH="416" progId="TCLayout.ActiveDocument.1">
                  <p:embed/>
                  <p:pic>
                    <p:nvPicPr>
                      <p:cNvPr id="6" name="Nesne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ikdörtgen 3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211667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tr-TR" sz="36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anose="020B0604030504040204" pitchFamily="34" charset="0"/>
              <a:ea typeface="+mj-ea"/>
              <a:cs typeface="Arial" panose="020B0604020202020204" pitchFamily="34" charset="0"/>
              <a:sym typeface="Tahoma" panose="020B0604030504040204" pitchFamily="34" charset="0"/>
            </a:endParaRPr>
          </a:p>
        </p:txBody>
      </p:sp>
      <p:sp>
        <p:nvSpPr>
          <p:cNvPr id="2" name="1 Başlık"/>
          <p:cNvSpPr>
            <a:spLocks noGrp="1"/>
          </p:cNvSpPr>
          <p:nvPr>
            <p:ph type="ctrTitle"/>
          </p:nvPr>
        </p:nvSpPr>
        <p:spPr>
          <a:xfrm>
            <a:off x="914400" y="2130428"/>
            <a:ext cx="10363200" cy="14700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tr-TR" dirty="0"/>
          </a:p>
        </p:txBody>
      </p:sp>
      <p:sp>
        <p:nvSpPr>
          <p:cNvPr id="3" name="2 Alt Başlık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/>
              <a:t>Click to edit Master subtitle style</a:t>
            </a:r>
            <a:endParaRPr lang="tr-TR" dirty="0"/>
          </a:p>
        </p:txBody>
      </p:sp>
    </p:spTree>
    <p:extLst>
      <p:ext uri="{BB962C8B-B14F-4D97-AF65-F5344CB8AC3E}">
        <p14:creationId xmlns:p14="http://schemas.microsoft.com/office/powerpoint/2010/main" val="3698506192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aşlık ve İçe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Nesne 5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6" imgH="416" progId="TCLayout.ActiveDocument.1">
                  <p:embed/>
                </p:oleObj>
              </mc:Choice>
              <mc:Fallback>
                <p:oleObj name="think-cell Slide" r:id="rId4" imgW="416" imgH="416" progId="TCLayout.ActiveDocument.1">
                  <p:embed/>
                  <p:pic>
                    <p:nvPicPr>
                      <p:cNvPr id="6" name="Nesne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ikdörtgen 3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211667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tr-TR" sz="36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anose="020B0604030504040204" pitchFamily="34" charset="0"/>
              <a:ea typeface="+mj-ea"/>
              <a:cs typeface="Arial" panose="020B0604020202020204" pitchFamily="34" charset="0"/>
              <a:sym typeface="Tahoma" panose="020B0604030504040204" pitchFamily="34" charset="0"/>
            </a:endParaRPr>
          </a:p>
        </p:txBody>
      </p:sp>
      <p:sp>
        <p:nvSpPr>
          <p:cNvPr id="2" name="1 Başlık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tr-TR" dirty="0"/>
          </a:p>
        </p:txBody>
      </p:sp>
      <p:sp>
        <p:nvSpPr>
          <p:cNvPr id="3" name="2 İçerik Yer Tutucusu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tr-TR" dirty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tr-TR"/>
              <a:t>Slayt </a:t>
            </a:r>
            <a:fld id="{800B3A91-13D1-4478-9922-86F5EE8FD7B3}" type="slidenum">
              <a:rPr lang="tr-TR" smtClean="0"/>
              <a:pPr>
                <a:defRPr/>
              </a:pPr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4089074469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Bölüm Üstbilgis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Nesne 5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3" imgH="424" progId="TCLayout.ActiveDocument.1">
                  <p:embed/>
                </p:oleObj>
              </mc:Choice>
              <mc:Fallback>
                <p:oleObj name="think-cell Slide" r:id="rId4" imgW="423" imgH="424" progId="TCLayout.ActiveDocument.1">
                  <p:embed/>
                  <p:pic>
                    <p:nvPicPr>
                      <p:cNvPr id="6" name="Nesne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ikdörtgen 3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211667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tr-TR" sz="40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anose="020B0604030504040204" pitchFamily="34" charset="0"/>
              <a:ea typeface="+mj-ea"/>
              <a:cs typeface="Arial" panose="020B0604020202020204" pitchFamily="34" charset="0"/>
              <a:sym typeface="Tahoma" panose="020B0604030504040204" pitchFamily="34" charset="0"/>
            </a:endParaRPr>
          </a:p>
        </p:txBody>
      </p:sp>
      <p:sp>
        <p:nvSpPr>
          <p:cNvPr id="2" name="1 Başlık"/>
          <p:cNvSpPr>
            <a:spLocks noGrp="1"/>
          </p:cNvSpPr>
          <p:nvPr>
            <p:ph type="title"/>
          </p:nvPr>
        </p:nvSpPr>
        <p:spPr>
          <a:xfrm>
            <a:off x="963084" y="4406903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  <a:endParaRPr lang="tr-TR" dirty="0"/>
          </a:p>
        </p:txBody>
      </p:sp>
      <p:sp>
        <p:nvSpPr>
          <p:cNvPr id="3" name="2 Metin Yer Tutucusu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tr-TR"/>
              <a:t>Slayt </a:t>
            </a:r>
            <a:fld id="{800B3A91-13D1-4478-9922-86F5EE8FD7B3}" type="slidenum">
              <a:rPr lang="tr-TR" smtClean="0"/>
              <a:pPr>
                <a:defRPr/>
              </a:pPr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2335237579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İki İçe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Nesne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3" imgH="424" progId="TCLayout.ActiveDocument.1">
                  <p:embed/>
                </p:oleObj>
              </mc:Choice>
              <mc:Fallback>
                <p:oleObj name="think-cell Slide" r:id="rId4" imgW="423" imgH="424" progId="TCLayout.ActiveDocument.1">
                  <p:embed/>
                  <p:pic>
                    <p:nvPicPr>
                      <p:cNvPr id="7" name="Nesne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ikdörtgen 4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211667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tr-TR" sz="36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anose="020B0604030504040204" pitchFamily="34" charset="0"/>
              <a:ea typeface="+mj-ea"/>
              <a:cs typeface="Arial" panose="020B0604020202020204" pitchFamily="34" charset="0"/>
              <a:sym typeface="Tahoma" panose="020B0604030504040204" pitchFamily="34" charset="0"/>
            </a:endParaRPr>
          </a:p>
        </p:txBody>
      </p:sp>
      <p:sp>
        <p:nvSpPr>
          <p:cNvPr id="2" name="1 Başlık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tr-TR" dirty="0"/>
          </a:p>
        </p:txBody>
      </p:sp>
      <p:sp>
        <p:nvSpPr>
          <p:cNvPr id="3" name="2 İçerik Yer Tutucusu"/>
          <p:cNvSpPr>
            <a:spLocks noGrp="1"/>
          </p:cNvSpPr>
          <p:nvPr>
            <p:ph sz="half" idx="1"/>
          </p:nvPr>
        </p:nvSpPr>
        <p:spPr>
          <a:xfrm>
            <a:off x="406400" y="1752600"/>
            <a:ext cx="5588000" cy="48006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tr-TR" dirty="0"/>
          </a:p>
        </p:txBody>
      </p:sp>
      <p:sp>
        <p:nvSpPr>
          <p:cNvPr id="4" name="3 İçerik Yer Tutucusu"/>
          <p:cNvSpPr>
            <a:spLocks noGrp="1"/>
          </p:cNvSpPr>
          <p:nvPr>
            <p:ph sz="half" idx="2"/>
          </p:nvPr>
        </p:nvSpPr>
        <p:spPr>
          <a:xfrm>
            <a:off x="6197600" y="1752600"/>
            <a:ext cx="5588000" cy="48006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tr-TR" dirty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tr-TR"/>
              <a:t>Slayt </a:t>
            </a:r>
            <a:fld id="{800B3A91-13D1-4478-9922-86F5EE8FD7B3}" type="slidenum">
              <a:rPr lang="tr-TR" smtClean="0"/>
              <a:pPr>
                <a:defRPr/>
              </a:pPr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840187229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Yalnızca Başlı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Nesne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3" imgH="424" progId="TCLayout.ActiveDocument.1">
                  <p:embed/>
                </p:oleObj>
              </mc:Choice>
              <mc:Fallback>
                <p:oleObj name="think-cell Slide" r:id="rId4" imgW="423" imgH="424" progId="TCLayout.ActiveDocument.1">
                  <p:embed/>
                  <p:pic>
                    <p:nvPicPr>
                      <p:cNvPr id="5" name="Nesne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ikdörtgen 2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211667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tr-TR" sz="36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anose="020B0604030504040204" pitchFamily="34" charset="0"/>
              <a:ea typeface="+mj-ea"/>
              <a:cs typeface="Arial" panose="020B0604020202020204" pitchFamily="34" charset="0"/>
              <a:sym typeface="Tahoma" panose="020B0604030504040204" pitchFamily="34" charset="0"/>
            </a:endParaRPr>
          </a:p>
        </p:txBody>
      </p:sp>
      <p:sp>
        <p:nvSpPr>
          <p:cNvPr id="2" name="1 Başlık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tr-TR" dirty="0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tr-TR"/>
              <a:t>Slayt </a:t>
            </a:r>
            <a:fld id="{800B3A91-13D1-4478-9922-86F5EE8FD7B3}" type="slidenum">
              <a:rPr lang="tr-TR" smtClean="0"/>
              <a:pPr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2813777880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tr-TR"/>
              <a:t>Slayt </a:t>
            </a:r>
            <a:fld id="{800B3A91-13D1-4478-9922-86F5EE8FD7B3}" type="slidenum">
              <a:rPr lang="tr-TR" smtClean="0"/>
              <a:pPr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1068700455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1" y="6443508"/>
            <a:ext cx="1482051" cy="115416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6" name="FooterSimple" hidden="1"/>
          <p:cNvSpPr txBox="1"/>
          <p:nvPr>
            <p:custDataLst>
              <p:tags r:id="rId1"/>
            </p:custDataLst>
          </p:nvPr>
        </p:nvSpPr>
        <p:spPr>
          <a:xfrm rot="16200000">
            <a:off x="10561320" y="5130005"/>
            <a:ext cx="27432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TOGG_Berat Albayrak sunumu_v8.pptx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353174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550" b="1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0493341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Yalnızca Başlı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Başlık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tr-TR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22995AE-6102-443B-9536-DED5237E76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97756979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>
          <a:xfrm>
            <a:off x="9677401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30001" y="622802"/>
            <a:ext cx="10933351" cy="332399"/>
          </a:xfrm>
        </p:spPr>
        <p:txBody>
          <a:bodyPr/>
          <a:lstStyle>
            <a:lvl1pPr>
              <a:defRPr b="1"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>
            <p:custDataLst>
              <p:tags r:id="rId1"/>
            </p:custDataLst>
          </p:nvPr>
        </p:nvSpPr>
        <p:spPr>
          <a:xfrm rot="16200000">
            <a:off x="10561320" y="5130004"/>
            <a:ext cx="27432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TOGG - YK sunumu_20181126_v4.pptx</a:t>
            </a:r>
          </a:p>
        </p:txBody>
      </p:sp>
    </p:spTree>
    <p:extLst>
      <p:ext uri="{BB962C8B-B14F-4D97-AF65-F5344CB8AC3E}">
        <p14:creationId xmlns:p14="http://schemas.microsoft.com/office/powerpoint/2010/main" val="11147789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Başlık Slaydı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Nesne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6" imgH="416" progId="TCLayout.ActiveDocument.1">
                  <p:embed/>
                </p:oleObj>
              </mc:Choice>
              <mc:Fallback>
                <p:oleObj name="think-cell Slide" r:id="rId3" imgW="416" imgH="416" progId="TCLayout.ActiveDocument.1">
                  <p:embed/>
                  <p:pic>
                    <p:nvPicPr>
                      <p:cNvPr id="4" name="Nesne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1 Başlık"/>
          <p:cNvSpPr>
            <a:spLocks noGrp="1"/>
          </p:cNvSpPr>
          <p:nvPr>
            <p:ph type="ctrTitle"/>
          </p:nvPr>
        </p:nvSpPr>
        <p:spPr>
          <a:xfrm>
            <a:off x="914400" y="2130430"/>
            <a:ext cx="10363200" cy="14700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tr-TR"/>
          </a:p>
        </p:txBody>
      </p:sp>
      <p:sp>
        <p:nvSpPr>
          <p:cNvPr id="3" name="2 Alt Başlık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/>
              <a:t>Click to edit Master subtitle style</a:t>
            </a:r>
            <a:endParaRPr lang="tr-TR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F302176B-0E47-46AC-8F43-DAB4B8A37D06}" type="slidenum">
              <a:rPr lang="tr-TR" smtClean="0"/>
              <a:pPr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547896572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aşlık ve İçe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Başlık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tr-TR"/>
          </a:p>
        </p:txBody>
      </p:sp>
      <p:sp>
        <p:nvSpPr>
          <p:cNvPr id="3" name="2 İçerik Yer Tutucusu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tr-TR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tr-TR"/>
              <a:t>Slayt </a:t>
            </a:r>
            <a:fld id="{800B3A91-13D1-4478-9922-86F5EE8FD7B3}" type="slidenum">
              <a:rPr lang="tr-TR" smtClean="0"/>
              <a:pPr>
                <a:defRPr/>
              </a:pPr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1126244201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Bölüm Üstbilgis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Başlık"/>
          <p:cNvSpPr>
            <a:spLocks noGrp="1"/>
          </p:cNvSpPr>
          <p:nvPr>
            <p:ph type="title"/>
          </p:nvPr>
        </p:nvSpPr>
        <p:spPr>
          <a:xfrm>
            <a:off x="963084" y="4406905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  <a:endParaRPr lang="tr-TR"/>
          </a:p>
        </p:txBody>
      </p:sp>
      <p:sp>
        <p:nvSpPr>
          <p:cNvPr id="3" name="2 Metin Yer Tutucusu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tr-TR"/>
              <a:t>Slayt </a:t>
            </a:r>
            <a:fld id="{800B3A91-13D1-4478-9922-86F5EE8FD7B3}" type="slidenum">
              <a:rPr lang="tr-TR" smtClean="0"/>
              <a:pPr>
                <a:defRPr/>
              </a:pPr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2467048271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İki İçe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Başlık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tr-TR"/>
          </a:p>
        </p:txBody>
      </p:sp>
      <p:sp>
        <p:nvSpPr>
          <p:cNvPr id="3" name="2 İçerik Yer Tutucusu"/>
          <p:cNvSpPr>
            <a:spLocks noGrp="1"/>
          </p:cNvSpPr>
          <p:nvPr>
            <p:ph sz="half" idx="1"/>
          </p:nvPr>
        </p:nvSpPr>
        <p:spPr>
          <a:xfrm>
            <a:off x="406400" y="1752600"/>
            <a:ext cx="5588000" cy="48006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tr-TR"/>
          </a:p>
        </p:txBody>
      </p:sp>
      <p:sp>
        <p:nvSpPr>
          <p:cNvPr id="4" name="3 İçerik Yer Tutucusu"/>
          <p:cNvSpPr>
            <a:spLocks noGrp="1"/>
          </p:cNvSpPr>
          <p:nvPr>
            <p:ph sz="half" idx="2"/>
          </p:nvPr>
        </p:nvSpPr>
        <p:spPr>
          <a:xfrm>
            <a:off x="6197600" y="1752600"/>
            <a:ext cx="5588000" cy="48006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tr-TR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tr-TR"/>
              <a:t>Slayt </a:t>
            </a:r>
            <a:fld id="{800B3A91-13D1-4478-9922-86F5EE8FD7B3}" type="slidenum">
              <a:rPr lang="tr-TR" smtClean="0"/>
              <a:pPr>
                <a:defRPr/>
              </a:pPr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3945586761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Karşılaştırm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Başlık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tr-TR"/>
          </a:p>
        </p:txBody>
      </p:sp>
      <p:sp>
        <p:nvSpPr>
          <p:cNvPr id="3" name="2 Metin Yer Tutucusu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3 İçerik Yer Tutucusu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tr-TR"/>
          </a:p>
        </p:txBody>
      </p:sp>
      <p:sp>
        <p:nvSpPr>
          <p:cNvPr id="5" name="4 Metin Yer Tutucusu"/>
          <p:cNvSpPr>
            <a:spLocks noGrp="1"/>
          </p:cNvSpPr>
          <p:nvPr>
            <p:ph type="body" sz="quarter" idx="3"/>
          </p:nvPr>
        </p:nvSpPr>
        <p:spPr>
          <a:xfrm>
            <a:off x="6193370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5 İçerik Yer Tutucusu"/>
          <p:cNvSpPr>
            <a:spLocks noGrp="1"/>
          </p:cNvSpPr>
          <p:nvPr>
            <p:ph sz="quarter" idx="4"/>
          </p:nvPr>
        </p:nvSpPr>
        <p:spPr>
          <a:xfrm>
            <a:off x="6193370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tr-TR"/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tr-TR"/>
              <a:t>Slayt </a:t>
            </a:r>
            <a:fld id="{800B3A91-13D1-4478-9922-86F5EE8FD7B3}" type="slidenum">
              <a:rPr lang="tr-TR" smtClean="0"/>
              <a:pPr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1180489847"/>
      </p:ext>
    </p:extLst>
  </p:cSld>
  <p:clrMapOvr>
    <a:masterClrMapping/>
  </p:clrMapOvr>
  <p:hf hdr="0" ftr="0" dt="0"/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Yalnızca Başlı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Başlık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tr-TR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tr-TR"/>
              <a:t>Slayt </a:t>
            </a:r>
            <a:fld id="{800B3A91-13D1-4478-9922-86F5EE8FD7B3}" type="slidenum">
              <a:rPr lang="tr-TR" smtClean="0"/>
              <a:pPr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782954117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o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tr-TR"/>
              <a:t>Slayt </a:t>
            </a:r>
            <a:fld id="{800B3A91-13D1-4478-9922-86F5EE8FD7B3}" type="slidenum">
              <a:rPr lang="tr-TR" smtClean="0"/>
              <a:pPr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2964734703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Başlıklı İçe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Başlık"/>
          <p:cNvSpPr>
            <a:spLocks noGrp="1"/>
          </p:cNvSpPr>
          <p:nvPr>
            <p:ph type="title"/>
          </p:nvPr>
        </p:nvSpPr>
        <p:spPr>
          <a:xfrm>
            <a:off x="609603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tr-TR"/>
          </a:p>
        </p:txBody>
      </p:sp>
      <p:sp>
        <p:nvSpPr>
          <p:cNvPr id="3" name="2 İçerik Yer Tutucusu"/>
          <p:cNvSpPr>
            <a:spLocks noGrp="1"/>
          </p:cNvSpPr>
          <p:nvPr>
            <p:ph idx="1"/>
          </p:nvPr>
        </p:nvSpPr>
        <p:spPr>
          <a:xfrm>
            <a:off x="4766733" y="273055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tr-TR"/>
          </a:p>
        </p:txBody>
      </p:sp>
      <p:sp>
        <p:nvSpPr>
          <p:cNvPr id="4" name="3 Metin Yer Tutucusu"/>
          <p:cNvSpPr>
            <a:spLocks noGrp="1"/>
          </p:cNvSpPr>
          <p:nvPr>
            <p:ph type="body" sz="half" idx="2"/>
          </p:nvPr>
        </p:nvSpPr>
        <p:spPr>
          <a:xfrm>
            <a:off x="609603" y="1435103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tr-TR"/>
              <a:t>Slayt </a:t>
            </a:r>
            <a:fld id="{800B3A91-13D1-4478-9922-86F5EE8FD7B3}" type="slidenum">
              <a:rPr lang="tr-TR" smtClean="0"/>
              <a:pPr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917165185"/>
      </p:ext>
    </p:extLst>
  </p:cSld>
  <p:clrMapOvr>
    <a:masterClrMapping/>
  </p:clrMapOvr>
  <p:hf hdr="0" ftr="0" dt="0"/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aşlıklı Resi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Başlık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tr-TR"/>
          </a:p>
        </p:txBody>
      </p:sp>
      <p:sp>
        <p:nvSpPr>
          <p:cNvPr id="3" name="2 Resim Yer Tutucusu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/>
              <a:t>Click icon to add picture</a:t>
            </a:r>
            <a:endParaRPr lang="tr-TR" noProof="0"/>
          </a:p>
        </p:txBody>
      </p:sp>
      <p:sp>
        <p:nvSpPr>
          <p:cNvPr id="4" name="3 Metin Yer Tutucusu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tr-TR"/>
              <a:t>Slayt </a:t>
            </a:r>
            <a:fld id="{800B3A91-13D1-4478-9922-86F5EE8FD7B3}" type="slidenum">
              <a:rPr lang="tr-TR" smtClean="0"/>
              <a:pPr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4010808202"/>
      </p:ext>
    </p:extLst>
  </p:cSld>
  <p:clrMapOvr>
    <a:masterClrMapping/>
  </p:clrMapOvr>
  <p:hf hdr="0" ft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o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22995AE-6102-443B-9536-DED5237E76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5554896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Başlık, Dikey Met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Başlık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tr-TR"/>
          </a:p>
        </p:txBody>
      </p:sp>
      <p:sp>
        <p:nvSpPr>
          <p:cNvPr id="3" name="2 Dikey Metin Yer Tutucusu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tr-TR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tr-TR"/>
              <a:t>Slayt </a:t>
            </a:r>
            <a:fld id="{800B3A91-13D1-4478-9922-86F5EE8FD7B3}" type="slidenum">
              <a:rPr lang="tr-TR" smtClean="0"/>
              <a:pPr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825005154"/>
      </p:ext>
    </p:extLst>
  </p:cSld>
  <p:clrMapOvr>
    <a:masterClrMapping/>
  </p:clrMapOvr>
  <p:hf hdr="0" ftr="0" dt="0"/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Dikey Başlık ve Met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Dikey Başlık"/>
          <p:cNvSpPr>
            <a:spLocks noGrp="1"/>
          </p:cNvSpPr>
          <p:nvPr>
            <p:ph type="title" orient="vert"/>
          </p:nvPr>
        </p:nvSpPr>
        <p:spPr>
          <a:xfrm>
            <a:off x="8940800" y="762000"/>
            <a:ext cx="2844800" cy="5791200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tr-TR"/>
          </a:p>
        </p:txBody>
      </p:sp>
      <p:sp>
        <p:nvSpPr>
          <p:cNvPr id="3" name="2 Dikey Metin Yer Tutucusu"/>
          <p:cNvSpPr>
            <a:spLocks noGrp="1"/>
          </p:cNvSpPr>
          <p:nvPr>
            <p:ph type="body" orient="vert" idx="1"/>
          </p:nvPr>
        </p:nvSpPr>
        <p:spPr>
          <a:xfrm>
            <a:off x="406400" y="762000"/>
            <a:ext cx="8331200" cy="579120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tr-TR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tr-TR"/>
              <a:t>Slayt </a:t>
            </a:r>
            <a:fld id="{800B3A91-13D1-4478-9922-86F5EE8FD7B3}" type="slidenum">
              <a:rPr lang="tr-TR" smtClean="0"/>
              <a:pPr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3261609751"/>
      </p:ext>
    </p:extLst>
  </p:cSld>
  <p:clrMapOvr>
    <a:masterClrMapping/>
  </p:clrMapOvr>
  <p:hf hdr="0" ftr="0" dt="0"/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Başlık ve Tab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Başlık"/>
          <p:cNvSpPr>
            <a:spLocks noGrp="1"/>
          </p:cNvSpPr>
          <p:nvPr>
            <p:ph type="title"/>
          </p:nvPr>
        </p:nvSpPr>
        <p:spPr>
          <a:xfrm>
            <a:off x="406400" y="762000"/>
            <a:ext cx="11379200" cy="8382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tr-TR"/>
          </a:p>
        </p:txBody>
      </p:sp>
      <p:sp>
        <p:nvSpPr>
          <p:cNvPr id="3" name="2 Tablo Yer Tutucusu"/>
          <p:cNvSpPr>
            <a:spLocks noGrp="1"/>
          </p:cNvSpPr>
          <p:nvPr>
            <p:ph type="tbl" idx="1"/>
          </p:nvPr>
        </p:nvSpPr>
        <p:spPr>
          <a:xfrm>
            <a:off x="406400" y="1752600"/>
            <a:ext cx="11379200" cy="4800600"/>
          </a:xfrm>
        </p:spPr>
        <p:txBody>
          <a:bodyPr/>
          <a:lstStyle/>
          <a:p>
            <a:pPr lvl="0"/>
            <a:r>
              <a:rPr lang="en-US" noProof="0"/>
              <a:t>Click icon to add table</a:t>
            </a:r>
            <a:endParaRPr lang="tr-TR" noProof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tr-TR"/>
              <a:t>Slayt </a:t>
            </a:r>
            <a:fld id="{800B3A91-13D1-4478-9922-86F5EE8FD7B3}" type="slidenum">
              <a:rPr lang="tr-TR" smtClean="0"/>
              <a:pPr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972594765"/>
      </p:ext>
    </p:extLst>
  </p:cSld>
  <p:clrMapOvr>
    <a:masterClrMapping/>
  </p:clrMapOvr>
  <p:hf hdr="0" ftr="0" dt="0"/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Başlık Slaydı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Nesne 5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6" imgH="416" progId="TCLayout.ActiveDocument.1">
                  <p:embed/>
                </p:oleObj>
              </mc:Choice>
              <mc:Fallback>
                <p:oleObj name="think-cell Slide" r:id="rId4" imgW="416" imgH="416" progId="TCLayout.ActiveDocument.1">
                  <p:embed/>
                  <p:pic>
                    <p:nvPicPr>
                      <p:cNvPr id="6" name="Nesne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ikdörtgen 3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211667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tr-TR" sz="36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anose="020B0604030504040204" pitchFamily="34" charset="0"/>
              <a:ea typeface="+mj-ea"/>
              <a:cs typeface="Arial" panose="020B0604020202020204" pitchFamily="34" charset="0"/>
              <a:sym typeface="Tahoma" panose="020B0604030504040204" pitchFamily="34" charset="0"/>
            </a:endParaRPr>
          </a:p>
        </p:txBody>
      </p:sp>
      <p:sp>
        <p:nvSpPr>
          <p:cNvPr id="2" name="1 Başlık"/>
          <p:cNvSpPr>
            <a:spLocks noGrp="1"/>
          </p:cNvSpPr>
          <p:nvPr>
            <p:ph type="ctrTitle"/>
          </p:nvPr>
        </p:nvSpPr>
        <p:spPr>
          <a:xfrm>
            <a:off x="914400" y="2130428"/>
            <a:ext cx="10363200" cy="14700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tr-TR" dirty="0"/>
          </a:p>
        </p:txBody>
      </p:sp>
      <p:sp>
        <p:nvSpPr>
          <p:cNvPr id="3" name="2 Alt Başlık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/>
              <a:t>Click to edit Master subtitle style</a:t>
            </a:r>
            <a:endParaRPr lang="tr-TR" dirty="0"/>
          </a:p>
        </p:txBody>
      </p:sp>
    </p:spTree>
    <p:extLst>
      <p:ext uri="{BB962C8B-B14F-4D97-AF65-F5344CB8AC3E}">
        <p14:creationId xmlns:p14="http://schemas.microsoft.com/office/powerpoint/2010/main" val="2188393890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aşlık ve İçe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Nesne 5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6" imgH="416" progId="TCLayout.ActiveDocument.1">
                  <p:embed/>
                </p:oleObj>
              </mc:Choice>
              <mc:Fallback>
                <p:oleObj name="think-cell Slide" r:id="rId4" imgW="416" imgH="416" progId="TCLayout.ActiveDocument.1">
                  <p:embed/>
                  <p:pic>
                    <p:nvPicPr>
                      <p:cNvPr id="6" name="Nesne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ikdörtgen 3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211667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tr-TR" sz="36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anose="020B0604030504040204" pitchFamily="34" charset="0"/>
              <a:ea typeface="+mj-ea"/>
              <a:cs typeface="Arial" panose="020B0604020202020204" pitchFamily="34" charset="0"/>
              <a:sym typeface="Tahoma" panose="020B0604030504040204" pitchFamily="34" charset="0"/>
            </a:endParaRPr>
          </a:p>
        </p:txBody>
      </p:sp>
      <p:sp>
        <p:nvSpPr>
          <p:cNvPr id="2" name="1 Başlık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tr-TR" dirty="0"/>
          </a:p>
        </p:txBody>
      </p:sp>
      <p:sp>
        <p:nvSpPr>
          <p:cNvPr id="3" name="2 İçerik Yer Tutucusu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tr-TR" dirty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tr-TR"/>
              <a:t>Slayt </a:t>
            </a:r>
            <a:fld id="{800B3A91-13D1-4478-9922-86F5EE8FD7B3}" type="slidenum">
              <a:rPr lang="tr-TR" smtClean="0"/>
              <a:pPr>
                <a:defRPr/>
              </a:pPr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1757715303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Bölüm Üstbilgis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Nesne 5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3" imgH="424" progId="TCLayout.ActiveDocument.1">
                  <p:embed/>
                </p:oleObj>
              </mc:Choice>
              <mc:Fallback>
                <p:oleObj name="think-cell Slide" r:id="rId4" imgW="423" imgH="424" progId="TCLayout.ActiveDocument.1">
                  <p:embed/>
                  <p:pic>
                    <p:nvPicPr>
                      <p:cNvPr id="6" name="Nesne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ikdörtgen 3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211667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tr-TR" sz="40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anose="020B0604030504040204" pitchFamily="34" charset="0"/>
              <a:ea typeface="+mj-ea"/>
              <a:cs typeface="Arial" panose="020B0604020202020204" pitchFamily="34" charset="0"/>
              <a:sym typeface="Tahoma" panose="020B0604030504040204" pitchFamily="34" charset="0"/>
            </a:endParaRPr>
          </a:p>
        </p:txBody>
      </p:sp>
      <p:sp>
        <p:nvSpPr>
          <p:cNvPr id="2" name="1 Başlık"/>
          <p:cNvSpPr>
            <a:spLocks noGrp="1"/>
          </p:cNvSpPr>
          <p:nvPr>
            <p:ph type="title"/>
          </p:nvPr>
        </p:nvSpPr>
        <p:spPr>
          <a:xfrm>
            <a:off x="963084" y="4406903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  <a:endParaRPr lang="tr-TR" dirty="0"/>
          </a:p>
        </p:txBody>
      </p:sp>
      <p:sp>
        <p:nvSpPr>
          <p:cNvPr id="3" name="2 Metin Yer Tutucusu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tr-TR"/>
              <a:t>Slayt </a:t>
            </a:r>
            <a:fld id="{800B3A91-13D1-4478-9922-86F5EE8FD7B3}" type="slidenum">
              <a:rPr lang="tr-TR" smtClean="0"/>
              <a:pPr>
                <a:defRPr/>
              </a:pPr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2240915348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İki İçe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Nesne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3" imgH="424" progId="TCLayout.ActiveDocument.1">
                  <p:embed/>
                </p:oleObj>
              </mc:Choice>
              <mc:Fallback>
                <p:oleObj name="think-cell Slide" r:id="rId4" imgW="423" imgH="424" progId="TCLayout.ActiveDocument.1">
                  <p:embed/>
                  <p:pic>
                    <p:nvPicPr>
                      <p:cNvPr id="7" name="Nesne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ikdörtgen 4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211667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tr-TR" sz="36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anose="020B0604030504040204" pitchFamily="34" charset="0"/>
              <a:ea typeface="+mj-ea"/>
              <a:cs typeface="Arial" panose="020B0604020202020204" pitchFamily="34" charset="0"/>
              <a:sym typeface="Tahoma" panose="020B0604030504040204" pitchFamily="34" charset="0"/>
            </a:endParaRPr>
          </a:p>
        </p:txBody>
      </p:sp>
      <p:sp>
        <p:nvSpPr>
          <p:cNvPr id="2" name="1 Başlık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tr-TR" dirty="0"/>
          </a:p>
        </p:txBody>
      </p:sp>
      <p:sp>
        <p:nvSpPr>
          <p:cNvPr id="3" name="2 İçerik Yer Tutucusu"/>
          <p:cNvSpPr>
            <a:spLocks noGrp="1"/>
          </p:cNvSpPr>
          <p:nvPr>
            <p:ph sz="half" idx="1"/>
          </p:nvPr>
        </p:nvSpPr>
        <p:spPr>
          <a:xfrm>
            <a:off x="406400" y="1752600"/>
            <a:ext cx="5588000" cy="48006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tr-TR" dirty="0"/>
          </a:p>
        </p:txBody>
      </p:sp>
      <p:sp>
        <p:nvSpPr>
          <p:cNvPr id="4" name="3 İçerik Yer Tutucusu"/>
          <p:cNvSpPr>
            <a:spLocks noGrp="1"/>
          </p:cNvSpPr>
          <p:nvPr>
            <p:ph sz="half" idx="2"/>
          </p:nvPr>
        </p:nvSpPr>
        <p:spPr>
          <a:xfrm>
            <a:off x="6197600" y="1752600"/>
            <a:ext cx="5588000" cy="48006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tr-TR" dirty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tr-TR"/>
              <a:t>Slayt </a:t>
            </a:r>
            <a:fld id="{800B3A91-13D1-4478-9922-86F5EE8FD7B3}" type="slidenum">
              <a:rPr lang="tr-TR" smtClean="0"/>
              <a:pPr>
                <a:defRPr/>
              </a:pPr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4013517366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Yalnızca Başlı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Nesne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3" imgH="424" progId="TCLayout.ActiveDocument.1">
                  <p:embed/>
                </p:oleObj>
              </mc:Choice>
              <mc:Fallback>
                <p:oleObj name="think-cell Slide" r:id="rId4" imgW="423" imgH="424" progId="TCLayout.ActiveDocument.1">
                  <p:embed/>
                  <p:pic>
                    <p:nvPicPr>
                      <p:cNvPr id="5" name="Nesne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ikdörtgen 2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211667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tr-TR" sz="36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anose="020B0604030504040204" pitchFamily="34" charset="0"/>
              <a:ea typeface="+mj-ea"/>
              <a:cs typeface="Arial" panose="020B0604020202020204" pitchFamily="34" charset="0"/>
              <a:sym typeface="Tahoma" panose="020B0604030504040204" pitchFamily="34" charset="0"/>
            </a:endParaRPr>
          </a:p>
        </p:txBody>
      </p:sp>
      <p:sp>
        <p:nvSpPr>
          <p:cNvPr id="2" name="1 Başlık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tr-TR" dirty="0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tr-TR"/>
              <a:t>Slayt </a:t>
            </a:r>
            <a:fld id="{800B3A91-13D1-4478-9922-86F5EE8FD7B3}" type="slidenum">
              <a:rPr lang="tr-TR" smtClean="0"/>
              <a:pPr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3959791166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tr-TR"/>
              <a:t>Slayt </a:t>
            </a:r>
            <a:fld id="{800B3A91-13D1-4478-9922-86F5EE8FD7B3}" type="slidenum">
              <a:rPr lang="tr-TR" smtClean="0"/>
              <a:pPr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3405248625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1" y="6443508"/>
            <a:ext cx="1482051" cy="115416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6" name="FooterSimple" hidden="1"/>
          <p:cNvSpPr txBox="1"/>
          <p:nvPr>
            <p:custDataLst>
              <p:tags r:id="rId1"/>
            </p:custDataLst>
          </p:nvPr>
        </p:nvSpPr>
        <p:spPr>
          <a:xfrm rot="16200000">
            <a:off x="10561320" y="5130005"/>
            <a:ext cx="27432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TOGG_Berat Albayrak sunumu_v8.pptx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353174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550" b="1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24843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Başlıklı İçe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Başlık"/>
          <p:cNvSpPr>
            <a:spLocks noGrp="1"/>
          </p:cNvSpPr>
          <p:nvPr>
            <p:ph type="title"/>
          </p:nvPr>
        </p:nvSpPr>
        <p:spPr>
          <a:xfrm>
            <a:off x="609603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tr-TR"/>
          </a:p>
        </p:txBody>
      </p:sp>
      <p:sp>
        <p:nvSpPr>
          <p:cNvPr id="3" name="2 İçerik Yer Tutucusu"/>
          <p:cNvSpPr>
            <a:spLocks noGrp="1"/>
          </p:cNvSpPr>
          <p:nvPr>
            <p:ph idx="1"/>
          </p:nvPr>
        </p:nvSpPr>
        <p:spPr>
          <a:xfrm>
            <a:off x="4766733" y="273055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tr-TR"/>
          </a:p>
        </p:txBody>
      </p:sp>
      <p:sp>
        <p:nvSpPr>
          <p:cNvPr id="4" name="3 Metin Yer Tutucusu"/>
          <p:cNvSpPr>
            <a:spLocks noGrp="1"/>
          </p:cNvSpPr>
          <p:nvPr>
            <p:ph type="body" sz="half" idx="2"/>
          </p:nvPr>
        </p:nvSpPr>
        <p:spPr>
          <a:xfrm>
            <a:off x="609603" y="1435103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22995AE-6102-443B-9536-DED5237E76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40898264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>
          <a:xfrm>
            <a:off x="9677401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30001" y="622802"/>
            <a:ext cx="10933351" cy="332399"/>
          </a:xfrm>
        </p:spPr>
        <p:txBody>
          <a:bodyPr/>
          <a:lstStyle>
            <a:lvl1pPr>
              <a:defRPr b="1"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>
            <p:custDataLst>
              <p:tags r:id="rId1"/>
            </p:custDataLst>
          </p:nvPr>
        </p:nvSpPr>
        <p:spPr>
          <a:xfrm rot="16200000">
            <a:off x="10561320" y="5130004"/>
            <a:ext cx="27432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TOGG - YK sunumu_20181126_v4.pptx</a:t>
            </a:r>
          </a:p>
        </p:txBody>
      </p:sp>
    </p:spTree>
    <p:extLst>
      <p:ext uri="{BB962C8B-B14F-4D97-AF65-F5344CB8AC3E}">
        <p14:creationId xmlns:p14="http://schemas.microsoft.com/office/powerpoint/2010/main" val="41014391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aşlıklı Resi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Başlık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tr-TR"/>
          </a:p>
        </p:txBody>
      </p:sp>
      <p:sp>
        <p:nvSpPr>
          <p:cNvPr id="3" name="2 Resim Yer Tutucusu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/>
              <a:t>Click icon to add picture</a:t>
            </a:r>
            <a:endParaRPr lang="tr-TR" noProof="0"/>
          </a:p>
        </p:txBody>
      </p:sp>
      <p:sp>
        <p:nvSpPr>
          <p:cNvPr id="4" name="3 Metin Yer Tutucusu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22995AE-6102-443B-9536-DED5237E76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8545074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openxmlformats.org/officeDocument/2006/relationships/image" Target="../media/image3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oleObject" Target="../embeddings/oleObject3.bin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tags" Target="../tags/tag4.xml"/><Relationship Id="rId5" Type="http://schemas.openxmlformats.org/officeDocument/2006/relationships/slideLayout" Target="../slideLayouts/slideLayout17.xml"/><Relationship Id="rId15" Type="http://schemas.openxmlformats.org/officeDocument/2006/relationships/image" Target="../media/image3.png"/><Relationship Id="rId10" Type="http://schemas.openxmlformats.org/officeDocument/2006/relationships/tags" Target="../tags/tag3.xml"/><Relationship Id="rId4" Type="http://schemas.openxmlformats.org/officeDocument/2006/relationships/slideLayout" Target="../slideLayouts/slideLayout16.xml"/><Relationship Id="rId9" Type="http://schemas.openxmlformats.org/officeDocument/2006/relationships/theme" Target="../theme/theme2.xml"/><Relationship Id="rId14" Type="http://schemas.openxmlformats.org/officeDocument/2006/relationships/image" Target="../media/image2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.xml"/><Relationship Id="rId13" Type="http://schemas.openxmlformats.org/officeDocument/2006/relationships/theme" Target="../theme/theme3.xml"/><Relationship Id="rId18" Type="http://schemas.openxmlformats.org/officeDocument/2006/relationships/image" Target="../media/image3.png"/><Relationship Id="rId3" Type="http://schemas.openxmlformats.org/officeDocument/2006/relationships/slideLayout" Target="../slideLayouts/slideLayout23.xml"/><Relationship Id="rId7" Type="http://schemas.openxmlformats.org/officeDocument/2006/relationships/slideLayout" Target="../slideLayouts/slideLayout27.xml"/><Relationship Id="rId12" Type="http://schemas.openxmlformats.org/officeDocument/2006/relationships/slideLayout" Target="../slideLayouts/slideLayout32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2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6.xml"/><Relationship Id="rId11" Type="http://schemas.openxmlformats.org/officeDocument/2006/relationships/slideLayout" Target="../slideLayouts/slideLayout31.xml"/><Relationship Id="rId5" Type="http://schemas.openxmlformats.org/officeDocument/2006/relationships/slideLayout" Target="../slideLayouts/slideLayout25.xml"/><Relationship Id="rId15" Type="http://schemas.openxmlformats.org/officeDocument/2006/relationships/oleObject" Target="../embeddings/oleObject9.bin"/><Relationship Id="rId10" Type="http://schemas.openxmlformats.org/officeDocument/2006/relationships/slideLayout" Target="../slideLayouts/slideLayout30.xml"/><Relationship Id="rId4" Type="http://schemas.openxmlformats.org/officeDocument/2006/relationships/slideLayout" Target="../slideLayouts/slideLayout24.xml"/><Relationship Id="rId9" Type="http://schemas.openxmlformats.org/officeDocument/2006/relationships/slideLayout" Target="../slideLayouts/slideLayout29.xml"/><Relationship Id="rId14" Type="http://schemas.openxmlformats.org/officeDocument/2006/relationships/tags" Target="../tags/tag17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0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5.xml"/><Relationship Id="rId7" Type="http://schemas.openxmlformats.org/officeDocument/2006/relationships/slideLayout" Target="../slideLayouts/slideLayout39.xml"/><Relationship Id="rId12" Type="http://schemas.openxmlformats.org/officeDocument/2006/relationships/oleObject" Target="../embeddings/oleObject11.bin"/><Relationship Id="rId2" Type="http://schemas.openxmlformats.org/officeDocument/2006/relationships/slideLayout" Target="../slideLayouts/slideLayout34.xml"/><Relationship Id="rId1" Type="http://schemas.openxmlformats.org/officeDocument/2006/relationships/slideLayout" Target="../slideLayouts/slideLayout33.xml"/><Relationship Id="rId6" Type="http://schemas.openxmlformats.org/officeDocument/2006/relationships/slideLayout" Target="../slideLayouts/slideLayout38.xml"/><Relationship Id="rId11" Type="http://schemas.openxmlformats.org/officeDocument/2006/relationships/tags" Target="../tags/tag20.xml"/><Relationship Id="rId5" Type="http://schemas.openxmlformats.org/officeDocument/2006/relationships/slideLayout" Target="../slideLayouts/slideLayout37.xml"/><Relationship Id="rId15" Type="http://schemas.openxmlformats.org/officeDocument/2006/relationships/image" Target="../media/image3.png"/><Relationship Id="rId10" Type="http://schemas.openxmlformats.org/officeDocument/2006/relationships/tags" Target="../tags/tag19.xml"/><Relationship Id="rId4" Type="http://schemas.openxmlformats.org/officeDocument/2006/relationships/slideLayout" Target="../slideLayouts/slideLayout36.xml"/><Relationship Id="rId9" Type="http://schemas.openxmlformats.org/officeDocument/2006/relationships/theme" Target="../theme/theme4.xml"/><Relationship Id="rId14" Type="http://schemas.openxmlformats.org/officeDocument/2006/relationships/image" Target="../media/image2.pn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8.xml"/><Relationship Id="rId13" Type="http://schemas.openxmlformats.org/officeDocument/2006/relationships/theme" Target="../theme/theme5.xml"/><Relationship Id="rId18" Type="http://schemas.openxmlformats.org/officeDocument/2006/relationships/image" Target="../media/image3.png"/><Relationship Id="rId3" Type="http://schemas.openxmlformats.org/officeDocument/2006/relationships/slideLayout" Target="../slideLayouts/slideLayout43.xml"/><Relationship Id="rId7" Type="http://schemas.openxmlformats.org/officeDocument/2006/relationships/slideLayout" Target="../slideLayouts/slideLayout47.xml"/><Relationship Id="rId12" Type="http://schemas.openxmlformats.org/officeDocument/2006/relationships/slideLayout" Target="../slideLayouts/slideLayout52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4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41.xml"/><Relationship Id="rId6" Type="http://schemas.openxmlformats.org/officeDocument/2006/relationships/slideLayout" Target="../slideLayouts/slideLayout46.xml"/><Relationship Id="rId11" Type="http://schemas.openxmlformats.org/officeDocument/2006/relationships/slideLayout" Target="../slideLayouts/slideLayout51.xml"/><Relationship Id="rId5" Type="http://schemas.openxmlformats.org/officeDocument/2006/relationships/slideLayout" Target="../slideLayouts/slideLayout45.xml"/><Relationship Id="rId15" Type="http://schemas.openxmlformats.org/officeDocument/2006/relationships/oleObject" Target="../embeddings/oleObject17.bin"/><Relationship Id="rId10" Type="http://schemas.openxmlformats.org/officeDocument/2006/relationships/slideLayout" Target="../slideLayouts/slideLayout50.xml"/><Relationship Id="rId4" Type="http://schemas.openxmlformats.org/officeDocument/2006/relationships/slideLayout" Target="../slideLayouts/slideLayout44.xml"/><Relationship Id="rId9" Type="http://schemas.openxmlformats.org/officeDocument/2006/relationships/slideLayout" Target="../slideLayouts/slideLayout49.xml"/><Relationship Id="rId14" Type="http://schemas.openxmlformats.org/officeDocument/2006/relationships/tags" Target="../tags/tag33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0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55.xml"/><Relationship Id="rId7" Type="http://schemas.openxmlformats.org/officeDocument/2006/relationships/slideLayout" Target="../slideLayouts/slideLayout59.xml"/><Relationship Id="rId12" Type="http://schemas.openxmlformats.org/officeDocument/2006/relationships/oleObject" Target="../embeddings/oleObject19.bin"/><Relationship Id="rId2" Type="http://schemas.openxmlformats.org/officeDocument/2006/relationships/slideLayout" Target="../slideLayouts/slideLayout54.xml"/><Relationship Id="rId1" Type="http://schemas.openxmlformats.org/officeDocument/2006/relationships/slideLayout" Target="../slideLayouts/slideLayout53.xml"/><Relationship Id="rId6" Type="http://schemas.openxmlformats.org/officeDocument/2006/relationships/slideLayout" Target="../slideLayouts/slideLayout58.xml"/><Relationship Id="rId11" Type="http://schemas.openxmlformats.org/officeDocument/2006/relationships/tags" Target="../tags/tag36.xml"/><Relationship Id="rId5" Type="http://schemas.openxmlformats.org/officeDocument/2006/relationships/slideLayout" Target="../slideLayouts/slideLayout57.xml"/><Relationship Id="rId15" Type="http://schemas.openxmlformats.org/officeDocument/2006/relationships/image" Target="../media/image3.png"/><Relationship Id="rId10" Type="http://schemas.openxmlformats.org/officeDocument/2006/relationships/tags" Target="../tags/tag35.xml"/><Relationship Id="rId4" Type="http://schemas.openxmlformats.org/officeDocument/2006/relationships/slideLayout" Target="../slideLayouts/slideLayout56.xml"/><Relationship Id="rId9" Type="http://schemas.openxmlformats.org/officeDocument/2006/relationships/theme" Target="../theme/theme6.xml"/><Relationship Id="rId14" Type="http://schemas.openxmlformats.org/officeDocument/2006/relationships/image" Target="../media/image2.png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8.xml"/><Relationship Id="rId13" Type="http://schemas.openxmlformats.org/officeDocument/2006/relationships/theme" Target="../theme/theme7.xml"/><Relationship Id="rId18" Type="http://schemas.openxmlformats.org/officeDocument/2006/relationships/image" Target="../media/image3.png"/><Relationship Id="rId3" Type="http://schemas.openxmlformats.org/officeDocument/2006/relationships/slideLayout" Target="../slideLayouts/slideLayout63.xml"/><Relationship Id="rId7" Type="http://schemas.openxmlformats.org/officeDocument/2006/relationships/slideLayout" Target="../slideLayouts/slideLayout67.xml"/><Relationship Id="rId12" Type="http://schemas.openxmlformats.org/officeDocument/2006/relationships/slideLayout" Target="../slideLayouts/slideLayout72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6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61.xml"/><Relationship Id="rId6" Type="http://schemas.openxmlformats.org/officeDocument/2006/relationships/slideLayout" Target="../slideLayouts/slideLayout66.xml"/><Relationship Id="rId11" Type="http://schemas.openxmlformats.org/officeDocument/2006/relationships/slideLayout" Target="../slideLayouts/slideLayout71.xml"/><Relationship Id="rId5" Type="http://schemas.openxmlformats.org/officeDocument/2006/relationships/slideLayout" Target="../slideLayouts/slideLayout65.xml"/><Relationship Id="rId15" Type="http://schemas.openxmlformats.org/officeDocument/2006/relationships/oleObject" Target="../embeddings/oleObject25.bin"/><Relationship Id="rId10" Type="http://schemas.openxmlformats.org/officeDocument/2006/relationships/slideLayout" Target="../slideLayouts/slideLayout70.xml"/><Relationship Id="rId4" Type="http://schemas.openxmlformats.org/officeDocument/2006/relationships/slideLayout" Target="../slideLayouts/slideLayout64.xml"/><Relationship Id="rId9" Type="http://schemas.openxmlformats.org/officeDocument/2006/relationships/slideLayout" Target="../slideLayouts/slideLayout69.xml"/><Relationship Id="rId14" Type="http://schemas.openxmlformats.org/officeDocument/2006/relationships/tags" Target="../tags/tag49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0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75.xml"/><Relationship Id="rId7" Type="http://schemas.openxmlformats.org/officeDocument/2006/relationships/slideLayout" Target="../slideLayouts/slideLayout79.xml"/><Relationship Id="rId12" Type="http://schemas.openxmlformats.org/officeDocument/2006/relationships/oleObject" Target="../embeddings/oleObject27.bin"/><Relationship Id="rId2" Type="http://schemas.openxmlformats.org/officeDocument/2006/relationships/slideLayout" Target="../slideLayouts/slideLayout74.xml"/><Relationship Id="rId1" Type="http://schemas.openxmlformats.org/officeDocument/2006/relationships/slideLayout" Target="../slideLayouts/slideLayout73.xml"/><Relationship Id="rId6" Type="http://schemas.openxmlformats.org/officeDocument/2006/relationships/slideLayout" Target="../slideLayouts/slideLayout78.xml"/><Relationship Id="rId11" Type="http://schemas.openxmlformats.org/officeDocument/2006/relationships/tags" Target="../tags/tag52.xml"/><Relationship Id="rId5" Type="http://schemas.openxmlformats.org/officeDocument/2006/relationships/slideLayout" Target="../slideLayouts/slideLayout77.xml"/><Relationship Id="rId15" Type="http://schemas.openxmlformats.org/officeDocument/2006/relationships/image" Target="../media/image3.png"/><Relationship Id="rId10" Type="http://schemas.openxmlformats.org/officeDocument/2006/relationships/tags" Target="../tags/tag51.xml"/><Relationship Id="rId4" Type="http://schemas.openxmlformats.org/officeDocument/2006/relationships/slideLayout" Target="../slideLayouts/slideLayout76.xml"/><Relationship Id="rId9" Type="http://schemas.openxmlformats.org/officeDocument/2006/relationships/theme" Target="../theme/theme8.xml"/><Relationship Id="rId14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8 Nesne" hidden="1"/>
          <p:cNvGraphicFramePr>
            <a:graphicFrameLocks noChangeAspect="1"/>
          </p:cNvGraphicFramePr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68446032"/>
              </p:ext>
            </p:extLst>
          </p:nvPr>
        </p:nvGraphicFramePr>
        <p:xfrm>
          <a:off x="2119" y="1593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9" name="8 Nesne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3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1" name="Rectangle 7"/>
          <p:cNvSpPr>
            <a:spLocks noChangeArrowheads="1"/>
          </p:cNvSpPr>
          <p:nvPr/>
        </p:nvSpPr>
        <p:spPr bwMode="auto">
          <a:xfrm>
            <a:off x="0" y="0"/>
            <a:ext cx="12192000" cy="533400"/>
          </a:xfrm>
          <a:prstGeom prst="rect">
            <a:avLst/>
          </a:prstGeom>
          <a:solidFill>
            <a:srgbClr val="1F318D"/>
          </a:solidFill>
          <a:ln w="38100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tr-TR" sz="4000" b="1">
              <a:solidFill>
                <a:srgbClr val="000000"/>
              </a:solidFill>
              <a:latin typeface="Arial" charset="0"/>
            </a:endParaRPr>
          </a:p>
        </p:txBody>
      </p:sp>
      <p:pic>
        <p:nvPicPr>
          <p:cNvPr id="1027" name="Picture 9" descr="bar"/>
          <p:cNvPicPr>
            <a:picLocks noChangeAspect="1" noChangeArrowheads="1"/>
          </p:cNvPicPr>
          <p:nvPr/>
        </p:nvPicPr>
        <p:blipFill>
          <a:blip r:embed="rId17" cstate="print"/>
          <a:srcRect l="-209" t="59564"/>
          <a:stretch>
            <a:fillRect/>
          </a:stretch>
        </p:blipFill>
        <p:spPr bwMode="auto">
          <a:xfrm>
            <a:off x="-25400" y="538168"/>
            <a:ext cx="12217400" cy="147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28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06400" y="762000"/>
            <a:ext cx="11379200" cy="838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tr-TR"/>
              <a:t>Asıl başlık stili için tıklatın</a:t>
            </a:r>
            <a:endParaRPr lang="en-US"/>
          </a:p>
        </p:txBody>
      </p:sp>
      <p:sp>
        <p:nvSpPr>
          <p:cNvPr id="102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06400" y="1752600"/>
            <a:ext cx="11379200" cy="4800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tr-TR"/>
              <a:t>Asıl metin stillerini düzenlemek için tıklatın</a:t>
            </a:r>
          </a:p>
          <a:p>
            <a:pPr lvl="1"/>
            <a:r>
              <a:rPr lang="tr-TR"/>
              <a:t>İkinci düzey</a:t>
            </a:r>
          </a:p>
          <a:p>
            <a:pPr lvl="2"/>
            <a:r>
              <a:rPr lang="tr-TR"/>
              <a:t>Üçüncü düzey</a:t>
            </a:r>
          </a:p>
          <a:p>
            <a:pPr lvl="3"/>
            <a:r>
              <a:rPr lang="tr-TR"/>
              <a:t>Dördüncü düzey</a:t>
            </a:r>
          </a:p>
          <a:p>
            <a:pPr lvl="4"/>
            <a:r>
              <a:rPr lang="tr-TR"/>
              <a:t>Beşinci düzey</a:t>
            </a:r>
            <a:endParaRPr lang="en-US"/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074400" y="5"/>
            <a:ext cx="1117600" cy="536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sz="1400" b="0">
                <a:solidFill>
                  <a:srgbClr val="CBDDEB"/>
                </a:solidFill>
                <a:latin typeface="+mn-lt"/>
                <a:cs typeface="Arial" charset="0"/>
              </a:defRPr>
            </a:lvl1pPr>
          </a:lstStyle>
          <a:p>
            <a:fld id="{022995AE-6102-443B-9536-DED5237E76D0}" type="slidenum">
              <a:rPr lang="en-US" smtClean="0"/>
              <a:t>‹#›</a:t>
            </a:fld>
            <a:endParaRPr lang="en-US"/>
          </a:p>
        </p:txBody>
      </p:sp>
      <p:sp>
        <p:nvSpPr>
          <p:cNvPr id="1041" name="Line 17"/>
          <p:cNvSpPr>
            <a:spLocks noChangeShapeType="1"/>
          </p:cNvSpPr>
          <p:nvPr/>
        </p:nvSpPr>
        <p:spPr bwMode="auto">
          <a:xfrm>
            <a:off x="11023600" y="95255"/>
            <a:ext cx="0" cy="347663"/>
          </a:xfrm>
          <a:prstGeom prst="line">
            <a:avLst/>
          </a:prstGeom>
          <a:noFill/>
          <a:ln w="31750">
            <a:solidFill>
              <a:schemeClr val="bg1"/>
            </a:solidFill>
            <a:round/>
            <a:headEnd/>
            <a:tailEnd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tr-TR" sz="4000" b="1">
              <a:solidFill>
                <a:srgbClr val="000000"/>
              </a:solidFill>
              <a:latin typeface="Arial" charset="0"/>
            </a:endParaRPr>
          </a:p>
        </p:txBody>
      </p:sp>
      <p:pic>
        <p:nvPicPr>
          <p:cNvPr id="1033" name="Picture 18" descr="Untitled-1"/>
          <p:cNvPicPr>
            <a:picLocks noChangeAspect="1" noChangeArrowheads="1"/>
          </p:cNvPicPr>
          <p:nvPr/>
        </p:nvPicPr>
        <p:blipFill>
          <a:blip r:embed="rId18" cstate="print"/>
          <a:srcRect/>
          <a:stretch>
            <a:fillRect/>
          </a:stretch>
        </p:blipFill>
        <p:spPr bwMode="auto">
          <a:xfrm>
            <a:off x="304800" y="66675"/>
            <a:ext cx="1625600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4906361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</p:sldLayoutIdLst>
  <p:txStyles>
    <p:titleStyle>
      <a:lvl1pPr algn="l" rtl="0" eaLnBrk="1" fontAlgn="base" hangingPunct="1">
        <a:spcBef>
          <a:spcPct val="0"/>
        </a:spcBef>
        <a:spcAft>
          <a:spcPct val="0"/>
        </a:spcAft>
        <a:defRPr sz="4400">
          <a:solidFill>
            <a:srgbClr val="1F318D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4400">
          <a:solidFill>
            <a:srgbClr val="1F318D"/>
          </a:solidFill>
          <a:latin typeface="Tahoma" pitchFamily="34" charset="0"/>
          <a:cs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4400">
          <a:solidFill>
            <a:srgbClr val="1F318D"/>
          </a:solidFill>
          <a:latin typeface="Tahoma" pitchFamily="34" charset="0"/>
          <a:cs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4400">
          <a:solidFill>
            <a:srgbClr val="1F318D"/>
          </a:solidFill>
          <a:latin typeface="Tahoma" pitchFamily="34" charset="0"/>
          <a:cs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4400">
          <a:solidFill>
            <a:srgbClr val="1F318D"/>
          </a:solidFill>
          <a:latin typeface="Tahoma" pitchFamily="34" charset="0"/>
          <a:cs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4400">
          <a:solidFill>
            <a:srgbClr val="1F318D"/>
          </a:solidFill>
          <a:latin typeface="Tahoma" pitchFamily="34" charset="0"/>
          <a:cs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4400">
          <a:solidFill>
            <a:srgbClr val="1F318D"/>
          </a:solidFill>
          <a:latin typeface="Tahoma" pitchFamily="34" charset="0"/>
          <a:cs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4400">
          <a:solidFill>
            <a:srgbClr val="1F318D"/>
          </a:solidFill>
          <a:latin typeface="Tahoma" pitchFamily="34" charset="0"/>
          <a:cs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4400">
          <a:solidFill>
            <a:srgbClr val="1F318D"/>
          </a:solidFill>
          <a:latin typeface="Tahoma" pitchFamily="34" charset="0"/>
          <a:cs typeface="Arial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Clr>
          <a:srgbClr val="E60000"/>
        </a:buClr>
        <a:buSzPct val="85000"/>
        <a:buFont typeface="Wingdings" pitchFamily="2" charset="2"/>
        <a:buChar char="n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Clr>
          <a:srgbClr val="1F318D"/>
        </a:buClr>
        <a:buSzPct val="90000"/>
        <a:buFont typeface="Wingdings" pitchFamily="2" charset="2"/>
        <a:buChar char="è"/>
        <a:defRPr sz="2800">
          <a:solidFill>
            <a:schemeClr val="tx1"/>
          </a:solidFill>
          <a:latin typeface="+mn-lt"/>
          <a:cs typeface="+mn-cs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  <a:cs typeface="+mn-cs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tr-T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9 Nesne" hidden="1"/>
          <p:cNvGraphicFramePr>
            <a:graphicFrameLocks noChangeAspect="1"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692195676"/>
              </p:ext>
            </p:extLst>
          </p:nvPr>
        </p:nvGraphicFramePr>
        <p:xfrm>
          <a:off x="2118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10" name="9 Nesne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91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ikdörtgen 1" hidden="1"/>
          <p:cNvSpPr/>
          <p:nvPr>
            <p:custDataLst>
              <p:tags r:id="rId11"/>
            </p:custDataLst>
          </p:nvPr>
        </p:nvSpPr>
        <p:spPr bwMode="auto">
          <a:xfrm>
            <a:off x="0" y="0"/>
            <a:ext cx="211667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tr-TR" sz="36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anose="020B0604030504040204" pitchFamily="34" charset="0"/>
              <a:ea typeface="+mj-ea"/>
              <a:cs typeface="Arial" panose="020B0604020202020204" pitchFamily="34" charset="0"/>
              <a:sym typeface="Tahoma" panose="020B0604030504040204" pitchFamily="34" charset="0"/>
            </a:endParaRPr>
          </a:p>
        </p:txBody>
      </p:sp>
      <p:sp>
        <p:nvSpPr>
          <p:cNvPr id="1031" name="Rectangle 7"/>
          <p:cNvSpPr>
            <a:spLocks noChangeArrowheads="1"/>
          </p:cNvSpPr>
          <p:nvPr/>
        </p:nvSpPr>
        <p:spPr bwMode="auto">
          <a:xfrm>
            <a:off x="0" y="0"/>
            <a:ext cx="12192000" cy="533400"/>
          </a:xfrm>
          <a:prstGeom prst="rect">
            <a:avLst/>
          </a:prstGeom>
          <a:solidFill>
            <a:srgbClr val="1F318D"/>
          </a:solidFill>
          <a:ln w="38100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tr-TR" sz="40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Arial"/>
            </a:endParaRPr>
          </a:p>
        </p:txBody>
      </p:sp>
      <p:pic>
        <p:nvPicPr>
          <p:cNvPr id="1027" name="Picture 9" descr="bar"/>
          <p:cNvPicPr>
            <a:picLocks noChangeAspect="1" noChangeArrowheads="1"/>
          </p:cNvPicPr>
          <p:nvPr/>
        </p:nvPicPr>
        <p:blipFill>
          <a:blip r:embed="rId14" cstate="print"/>
          <a:srcRect l="-209" t="59564"/>
          <a:stretch>
            <a:fillRect/>
          </a:stretch>
        </p:blipFill>
        <p:spPr bwMode="auto">
          <a:xfrm>
            <a:off x="-25400" y="538166"/>
            <a:ext cx="12217400" cy="147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28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06400" y="762000"/>
            <a:ext cx="11379200" cy="838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tr-TR" dirty="0"/>
              <a:t>Asıl başlık stili için tıklatın</a:t>
            </a:r>
          </a:p>
        </p:txBody>
      </p:sp>
      <p:sp>
        <p:nvSpPr>
          <p:cNvPr id="102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06400" y="1752600"/>
            <a:ext cx="11379200" cy="4800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tr-TR" dirty="0"/>
              <a:t>Asıl metin stillerini düzenlemek için tıklatın</a:t>
            </a:r>
          </a:p>
          <a:p>
            <a:pPr lvl="1"/>
            <a:r>
              <a:rPr lang="tr-TR" dirty="0"/>
              <a:t>İkinci düzey</a:t>
            </a:r>
          </a:p>
          <a:p>
            <a:pPr lvl="2"/>
            <a:r>
              <a:rPr lang="tr-TR" dirty="0"/>
              <a:t>Üçüncü düzey</a:t>
            </a:r>
          </a:p>
          <a:p>
            <a:pPr lvl="3"/>
            <a:r>
              <a:rPr lang="tr-TR" dirty="0"/>
              <a:t>Dördüncü düzey</a:t>
            </a:r>
          </a:p>
          <a:p>
            <a:pPr lvl="4"/>
            <a:r>
              <a:rPr lang="tr-TR" dirty="0"/>
              <a:t>Beşinci düzey</a:t>
            </a: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074400" y="3"/>
            <a:ext cx="1117600" cy="536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sz="1400" b="0">
                <a:solidFill>
                  <a:srgbClr val="CBDDEB"/>
                </a:solidFill>
                <a:latin typeface="+mn-lt"/>
                <a:cs typeface="Arial" charset="0"/>
              </a:defRPr>
            </a:lvl1pPr>
          </a:lstStyle>
          <a:p>
            <a:r>
              <a:rPr lang="tr-TR"/>
              <a:t>Slayt </a:t>
            </a:r>
            <a:fld id="{800B3A91-13D1-4478-9922-86F5EE8FD7B3}" type="slidenum">
              <a:rPr lang="tr-TR" smtClean="0"/>
              <a:pPr/>
              <a:t>‹#›</a:t>
            </a:fld>
            <a:endParaRPr lang="tr-TR"/>
          </a:p>
        </p:txBody>
      </p:sp>
      <p:sp>
        <p:nvSpPr>
          <p:cNvPr id="1041" name="Line 17"/>
          <p:cNvSpPr>
            <a:spLocks noChangeShapeType="1"/>
          </p:cNvSpPr>
          <p:nvPr/>
        </p:nvSpPr>
        <p:spPr bwMode="auto">
          <a:xfrm>
            <a:off x="11023600" y="95253"/>
            <a:ext cx="0" cy="347663"/>
          </a:xfrm>
          <a:prstGeom prst="line">
            <a:avLst/>
          </a:prstGeom>
          <a:noFill/>
          <a:ln w="31750">
            <a:solidFill>
              <a:schemeClr val="bg1"/>
            </a:solidFill>
            <a:round/>
            <a:headEnd/>
            <a:tailEnd/>
          </a:ln>
          <a:effectLst/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tr-TR" sz="40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Arial"/>
            </a:endParaRPr>
          </a:p>
        </p:txBody>
      </p:sp>
      <p:pic>
        <p:nvPicPr>
          <p:cNvPr id="1033" name="Picture 18" descr="Untitled-1"/>
          <p:cNvPicPr>
            <a:picLocks noChangeAspect="1" noChangeArrowheads="1"/>
          </p:cNvPicPr>
          <p:nvPr/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304800" y="66675"/>
            <a:ext cx="1625600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3905743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  <p:sldLayoutId id="2147483677" r:id="rId4"/>
    <p:sldLayoutId id="2147483678" r:id="rId5"/>
    <p:sldLayoutId id="2147483679" r:id="rId6"/>
    <p:sldLayoutId id="2147483680" r:id="rId7"/>
    <p:sldLayoutId id="2147483681" r:id="rId8"/>
  </p:sldLayoutIdLs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3600" b="1">
          <a:solidFill>
            <a:srgbClr val="1F318D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4400">
          <a:solidFill>
            <a:srgbClr val="1F318D"/>
          </a:solidFill>
          <a:latin typeface="Tahoma" pitchFamily="34" charset="0"/>
          <a:cs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4400">
          <a:solidFill>
            <a:srgbClr val="1F318D"/>
          </a:solidFill>
          <a:latin typeface="Tahoma" pitchFamily="34" charset="0"/>
          <a:cs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4400">
          <a:solidFill>
            <a:srgbClr val="1F318D"/>
          </a:solidFill>
          <a:latin typeface="Tahoma" pitchFamily="34" charset="0"/>
          <a:cs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4400">
          <a:solidFill>
            <a:srgbClr val="1F318D"/>
          </a:solidFill>
          <a:latin typeface="Tahoma" pitchFamily="34" charset="0"/>
          <a:cs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4400">
          <a:solidFill>
            <a:srgbClr val="1F318D"/>
          </a:solidFill>
          <a:latin typeface="Tahoma" pitchFamily="34" charset="0"/>
          <a:cs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4400">
          <a:solidFill>
            <a:srgbClr val="1F318D"/>
          </a:solidFill>
          <a:latin typeface="Tahoma" pitchFamily="34" charset="0"/>
          <a:cs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4400">
          <a:solidFill>
            <a:srgbClr val="1F318D"/>
          </a:solidFill>
          <a:latin typeface="Tahoma" pitchFamily="34" charset="0"/>
          <a:cs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4400">
          <a:solidFill>
            <a:srgbClr val="1F318D"/>
          </a:solidFill>
          <a:latin typeface="Tahoma" pitchFamily="34" charset="0"/>
          <a:cs typeface="Arial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Clr>
          <a:srgbClr val="E60000"/>
        </a:buClr>
        <a:buSzPct val="85000"/>
        <a:buFont typeface="Wingdings" pitchFamily="2" charset="2"/>
        <a:buChar char="n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Clr>
          <a:srgbClr val="1F318D"/>
        </a:buClr>
        <a:buSzPct val="90000"/>
        <a:buFont typeface="Wingdings" pitchFamily="2" charset="2"/>
        <a:buChar char="è"/>
        <a:defRPr sz="2800">
          <a:solidFill>
            <a:schemeClr val="tx1"/>
          </a:solidFill>
          <a:latin typeface="+mn-lt"/>
          <a:cs typeface="+mn-cs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  <a:cs typeface="+mn-cs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tr-T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8 Nesne" hidden="1"/>
          <p:cNvGraphicFramePr>
            <a:graphicFrameLocks noChangeAspect="1"/>
          </p:cNvGraphicFramePr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68446032"/>
              </p:ext>
            </p:extLst>
          </p:nvPr>
        </p:nvGraphicFramePr>
        <p:xfrm>
          <a:off x="2119" y="1593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9" name="8 Nesne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3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1" name="Rectangle 7"/>
          <p:cNvSpPr>
            <a:spLocks noChangeArrowheads="1"/>
          </p:cNvSpPr>
          <p:nvPr/>
        </p:nvSpPr>
        <p:spPr bwMode="auto">
          <a:xfrm>
            <a:off x="0" y="0"/>
            <a:ext cx="12192000" cy="533400"/>
          </a:xfrm>
          <a:prstGeom prst="rect">
            <a:avLst/>
          </a:prstGeom>
          <a:solidFill>
            <a:srgbClr val="1F318D"/>
          </a:solidFill>
          <a:ln w="38100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tr-TR" sz="4000" b="1">
              <a:solidFill>
                <a:srgbClr val="000000"/>
              </a:solidFill>
              <a:latin typeface="Arial" charset="0"/>
            </a:endParaRPr>
          </a:p>
        </p:txBody>
      </p:sp>
      <p:pic>
        <p:nvPicPr>
          <p:cNvPr id="1027" name="Picture 9" descr="bar"/>
          <p:cNvPicPr>
            <a:picLocks noChangeAspect="1" noChangeArrowheads="1"/>
          </p:cNvPicPr>
          <p:nvPr/>
        </p:nvPicPr>
        <p:blipFill>
          <a:blip r:embed="rId17" cstate="print"/>
          <a:srcRect l="-209" t="59564"/>
          <a:stretch>
            <a:fillRect/>
          </a:stretch>
        </p:blipFill>
        <p:spPr bwMode="auto">
          <a:xfrm>
            <a:off x="-25400" y="538168"/>
            <a:ext cx="12217400" cy="147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28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06400" y="762000"/>
            <a:ext cx="11379200" cy="838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tr-TR"/>
              <a:t>Asıl başlık stili için tıklatın</a:t>
            </a:r>
            <a:endParaRPr lang="en-US"/>
          </a:p>
        </p:txBody>
      </p:sp>
      <p:sp>
        <p:nvSpPr>
          <p:cNvPr id="102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06400" y="1752600"/>
            <a:ext cx="11379200" cy="4800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tr-TR"/>
              <a:t>Asıl metin stillerini düzenlemek için tıklatın</a:t>
            </a:r>
          </a:p>
          <a:p>
            <a:pPr lvl="1"/>
            <a:r>
              <a:rPr lang="tr-TR"/>
              <a:t>İkinci düzey</a:t>
            </a:r>
          </a:p>
          <a:p>
            <a:pPr lvl="2"/>
            <a:r>
              <a:rPr lang="tr-TR"/>
              <a:t>Üçüncü düzey</a:t>
            </a:r>
          </a:p>
          <a:p>
            <a:pPr lvl="3"/>
            <a:r>
              <a:rPr lang="tr-TR"/>
              <a:t>Dördüncü düzey</a:t>
            </a:r>
          </a:p>
          <a:p>
            <a:pPr lvl="4"/>
            <a:r>
              <a:rPr lang="tr-TR"/>
              <a:t>Beşinci düzey</a:t>
            </a:r>
            <a:endParaRPr lang="en-US"/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074400" y="5"/>
            <a:ext cx="1117600" cy="536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sz="1400" b="0">
                <a:solidFill>
                  <a:srgbClr val="CBDDEB"/>
                </a:solidFill>
                <a:latin typeface="+mn-lt"/>
                <a:cs typeface="Arial" charset="0"/>
              </a:defRPr>
            </a:lvl1pPr>
          </a:lstStyle>
          <a:p>
            <a:fld id="{022995AE-6102-443B-9536-DED5237E76D0}" type="slidenum">
              <a:rPr lang="en-US" smtClean="0"/>
              <a:t>‹#›</a:t>
            </a:fld>
            <a:endParaRPr lang="en-US"/>
          </a:p>
        </p:txBody>
      </p:sp>
      <p:sp>
        <p:nvSpPr>
          <p:cNvPr id="1041" name="Line 17"/>
          <p:cNvSpPr>
            <a:spLocks noChangeShapeType="1"/>
          </p:cNvSpPr>
          <p:nvPr/>
        </p:nvSpPr>
        <p:spPr bwMode="auto">
          <a:xfrm>
            <a:off x="11023600" y="95255"/>
            <a:ext cx="0" cy="347663"/>
          </a:xfrm>
          <a:prstGeom prst="line">
            <a:avLst/>
          </a:prstGeom>
          <a:noFill/>
          <a:ln w="31750">
            <a:solidFill>
              <a:schemeClr val="bg1"/>
            </a:solidFill>
            <a:round/>
            <a:headEnd/>
            <a:tailEnd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tr-TR" sz="4000" b="1">
              <a:solidFill>
                <a:srgbClr val="000000"/>
              </a:solidFill>
              <a:latin typeface="Arial" charset="0"/>
            </a:endParaRPr>
          </a:p>
        </p:txBody>
      </p:sp>
      <p:pic>
        <p:nvPicPr>
          <p:cNvPr id="1033" name="Picture 18" descr="Untitled-1"/>
          <p:cNvPicPr>
            <a:picLocks noChangeAspect="1" noChangeArrowheads="1"/>
          </p:cNvPicPr>
          <p:nvPr/>
        </p:nvPicPr>
        <p:blipFill>
          <a:blip r:embed="rId18" cstate="print"/>
          <a:srcRect/>
          <a:stretch>
            <a:fillRect/>
          </a:stretch>
        </p:blipFill>
        <p:spPr bwMode="auto">
          <a:xfrm>
            <a:off x="304800" y="66675"/>
            <a:ext cx="1625600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4443868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3" r:id="rId1"/>
    <p:sldLayoutId id="2147483684" r:id="rId2"/>
    <p:sldLayoutId id="2147483685" r:id="rId3"/>
    <p:sldLayoutId id="2147483686" r:id="rId4"/>
    <p:sldLayoutId id="2147483687" r:id="rId5"/>
    <p:sldLayoutId id="2147483688" r:id="rId6"/>
    <p:sldLayoutId id="2147483689" r:id="rId7"/>
    <p:sldLayoutId id="2147483690" r:id="rId8"/>
    <p:sldLayoutId id="2147483691" r:id="rId9"/>
    <p:sldLayoutId id="2147483692" r:id="rId10"/>
    <p:sldLayoutId id="2147483693" r:id="rId11"/>
    <p:sldLayoutId id="2147483694" r:id="rId12"/>
  </p:sldLayoutIdLst>
  <p:txStyles>
    <p:titleStyle>
      <a:lvl1pPr algn="l" rtl="0" eaLnBrk="1" fontAlgn="base" hangingPunct="1">
        <a:spcBef>
          <a:spcPct val="0"/>
        </a:spcBef>
        <a:spcAft>
          <a:spcPct val="0"/>
        </a:spcAft>
        <a:defRPr sz="4400">
          <a:solidFill>
            <a:srgbClr val="1F318D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4400">
          <a:solidFill>
            <a:srgbClr val="1F318D"/>
          </a:solidFill>
          <a:latin typeface="Tahoma" pitchFamily="34" charset="0"/>
          <a:cs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4400">
          <a:solidFill>
            <a:srgbClr val="1F318D"/>
          </a:solidFill>
          <a:latin typeface="Tahoma" pitchFamily="34" charset="0"/>
          <a:cs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4400">
          <a:solidFill>
            <a:srgbClr val="1F318D"/>
          </a:solidFill>
          <a:latin typeface="Tahoma" pitchFamily="34" charset="0"/>
          <a:cs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4400">
          <a:solidFill>
            <a:srgbClr val="1F318D"/>
          </a:solidFill>
          <a:latin typeface="Tahoma" pitchFamily="34" charset="0"/>
          <a:cs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4400">
          <a:solidFill>
            <a:srgbClr val="1F318D"/>
          </a:solidFill>
          <a:latin typeface="Tahoma" pitchFamily="34" charset="0"/>
          <a:cs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4400">
          <a:solidFill>
            <a:srgbClr val="1F318D"/>
          </a:solidFill>
          <a:latin typeface="Tahoma" pitchFamily="34" charset="0"/>
          <a:cs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4400">
          <a:solidFill>
            <a:srgbClr val="1F318D"/>
          </a:solidFill>
          <a:latin typeface="Tahoma" pitchFamily="34" charset="0"/>
          <a:cs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4400">
          <a:solidFill>
            <a:srgbClr val="1F318D"/>
          </a:solidFill>
          <a:latin typeface="Tahoma" pitchFamily="34" charset="0"/>
          <a:cs typeface="Arial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Clr>
          <a:srgbClr val="E60000"/>
        </a:buClr>
        <a:buSzPct val="85000"/>
        <a:buFont typeface="Wingdings" pitchFamily="2" charset="2"/>
        <a:buChar char="n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Clr>
          <a:srgbClr val="1F318D"/>
        </a:buClr>
        <a:buSzPct val="90000"/>
        <a:buFont typeface="Wingdings" pitchFamily="2" charset="2"/>
        <a:buChar char="è"/>
        <a:defRPr sz="2800">
          <a:solidFill>
            <a:schemeClr val="tx1"/>
          </a:solidFill>
          <a:latin typeface="+mn-lt"/>
          <a:cs typeface="+mn-cs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  <a:cs typeface="+mn-cs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tr-T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9 Nesne" hidden="1"/>
          <p:cNvGraphicFramePr>
            <a:graphicFrameLocks noChangeAspect="1"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692195676"/>
              </p:ext>
            </p:extLst>
          </p:nvPr>
        </p:nvGraphicFramePr>
        <p:xfrm>
          <a:off x="2118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10" name="9 Nesne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91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ikdörtgen 1" hidden="1"/>
          <p:cNvSpPr/>
          <p:nvPr>
            <p:custDataLst>
              <p:tags r:id="rId11"/>
            </p:custDataLst>
          </p:nvPr>
        </p:nvSpPr>
        <p:spPr bwMode="auto">
          <a:xfrm>
            <a:off x="0" y="0"/>
            <a:ext cx="211667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tr-TR" sz="36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anose="020B0604030504040204" pitchFamily="34" charset="0"/>
              <a:ea typeface="+mj-ea"/>
              <a:cs typeface="Arial" panose="020B0604020202020204" pitchFamily="34" charset="0"/>
              <a:sym typeface="Tahoma" panose="020B0604030504040204" pitchFamily="34" charset="0"/>
            </a:endParaRPr>
          </a:p>
        </p:txBody>
      </p:sp>
      <p:sp>
        <p:nvSpPr>
          <p:cNvPr id="1031" name="Rectangle 7"/>
          <p:cNvSpPr>
            <a:spLocks noChangeArrowheads="1"/>
          </p:cNvSpPr>
          <p:nvPr/>
        </p:nvSpPr>
        <p:spPr bwMode="auto">
          <a:xfrm>
            <a:off x="0" y="0"/>
            <a:ext cx="12192000" cy="533400"/>
          </a:xfrm>
          <a:prstGeom prst="rect">
            <a:avLst/>
          </a:prstGeom>
          <a:solidFill>
            <a:srgbClr val="1F318D"/>
          </a:solidFill>
          <a:ln w="38100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tr-TR" sz="40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Arial"/>
            </a:endParaRPr>
          </a:p>
        </p:txBody>
      </p:sp>
      <p:pic>
        <p:nvPicPr>
          <p:cNvPr id="1027" name="Picture 9" descr="bar"/>
          <p:cNvPicPr>
            <a:picLocks noChangeAspect="1" noChangeArrowheads="1"/>
          </p:cNvPicPr>
          <p:nvPr/>
        </p:nvPicPr>
        <p:blipFill>
          <a:blip r:embed="rId14" cstate="print"/>
          <a:srcRect l="-209" t="59564"/>
          <a:stretch>
            <a:fillRect/>
          </a:stretch>
        </p:blipFill>
        <p:spPr bwMode="auto">
          <a:xfrm>
            <a:off x="-25400" y="538166"/>
            <a:ext cx="12217400" cy="147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28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06400" y="762000"/>
            <a:ext cx="11379200" cy="838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tr-TR" dirty="0"/>
              <a:t>Asıl başlık stili için tıklatın</a:t>
            </a:r>
          </a:p>
        </p:txBody>
      </p:sp>
      <p:sp>
        <p:nvSpPr>
          <p:cNvPr id="102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06400" y="1752600"/>
            <a:ext cx="11379200" cy="4800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tr-TR" dirty="0"/>
              <a:t>Asıl metin stillerini düzenlemek için tıklatın</a:t>
            </a:r>
          </a:p>
          <a:p>
            <a:pPr lvl="1"/>
            <a:r>
              <a:rPr lang="tr-TR" dirty="0"/>
              <a:t>İkinci düzey</a:t>
            </a:r>
          </a:p>
          <a:p>
            <a:pPr lvl="2"/>
            <a:r>
              <a:rPr lang="tr-TR" dirty="0"/>
              <a:t>Üçüncü düzey</a:t>
            </a:r>
          </a:p>
          <a:p>
            <a:pPr lvl="3"/>
            <a:r>
              <a:rPr lang="tr-TR" dirty="0"/>
              <a:t>Dördüncü düzey</a:t>
            </a:r>
          </a:p>
          <a:p>
            <a:pPr lvl="4"/>
            <a:r>
              <a:rPr lang="tr-TR" dirty="0"/>
              <a:t>Beşinci düzey</a:t>
            </a: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074400" y="3"/>
            <a:ext cx="1117600" cy="536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sz="1400" b="0">
                <a:solidFill>
                  <a:srgbClr val="CBDDEB"/>
                </a:solidFill>
                <a:latin typeface="+mn-lt"/>
                <a:cs typeface="Arial" charset="0"/>
              </a:defRPr>
            </a:lvl1pPr>
          </a:lstStyle>
          <a:p>
            <a:r>
              <a:rPr lang="tr-TR"/>
              <a:t>Slayt </a:t>
            </a:r>
            <a:fld id="{800B3A91-13D1-4478-9922-86F5EE8FD7B3}" type="slidenum">
              <a:rPr lang="tr-TR" smtClean="0"/>
              <a:pPr/>
              <a:t>‹#›</a:t>
            </a:fld>
            <a:endParaRPr lang="tr-TR"/>
          </a:p>
        </p:txBody>
      </p:sp>
      <p:sp>
        <p:nvSpPr>
          <p:cNvPr id="1041" name="Line 17"/>
          <p:cNvSpPr>
            <a:spLocks noChangeShapeType="1"/>
          </p:cNvSpPr>
          <p:nvPr/>
        </p:nvSpPr>
        <p:spPr bwMode="auto">
          <a:xfrm>
            <a:off x="11023600" y="95253"/>
            <a:ext cx="0" cy="347663"/>
          </a:xfrm>
          <a:prstGeom prst="line">
            <a:avLst/>
          </a:prstGeom>
          <a:noFill/>
          <a:ln w="31750">
            <a:solidFill>
              <a:schemeClr val="bg1"/>
            </a:solidFill>
            <a:round/>
            <a:headEnd/>
            <a:tailEnd/>
          </a:ln>
          <a:effectLst/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tr-TR" sz="40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Arial"/>
            </a:endParaRPr>
          </a:p>
        </p:txBody>
      </p:sp>
      <p:pic>
        <p:nvPicPr>
          <p:cNvPr id="1033" name="Picture 18" descr="Untitled-1"/>
          <p:cNvPicPr>
            <a:picLocks noChangeAspect="1" noChangeArrowheads="1"/>
          </p:cNvPicPr>
          <p:nvPr/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304800" y="66675"/>
            <a:ext cx="1625600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4561323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6" r:id="rId1"/>
    <p:sldLayoutId id="2147483697" r:id="rId2"/>
    <p:sldLayoutId id="2147483698" r:id="rId3"/>
    <p:sldLayoutId id="2147483699" r:id="rId4"/>
    <p:sldLayoutId id="2147483700" r:id="rId5"/>
    <p:sldLayoutId id="2147483701" r:id="rId6"/>
    <p:sldLayoutId id="2147483702" r:id="rId7"/>
    <p:sldLayoutId id="2147483703" r:id="rId8"/>
  </p:sldLayoutIdLs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3600" b="1">
          <a:solidFill>
            <a:srgbClr val="1F318D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4400">
          <a:solidFill>
            <a:srgbClr val="1F318D"/>
          </a:solidFill>
          <a:latin typeface="Tahoma" pitchFamily="34" charset="0"/>
          <a:cs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4400">
          <a:solidFill>
            <a:srgbClr val="1F318D"/>
          </a:solidFill>
          <a:latin typeface="Tahoma" pitchFamily="34" charset="0"/>
          <a:cs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4400">
          <a:solidFill>
            <a:srgbClr val="1F318D"/>
          </a:solidFill>
          <a:latin typeface="Tahoma" pitchFamily="34" charset="0"/>
          <a:cs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4400">
          <a:solidFill>
            <a:srgbClr val="1F318D"/>
          </a:solidFill>
          <a:latin typeface="Tahoma" pitchFamily="34" charset="0"/>
          <a:cs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4400">
          <a:solidFill>
            <a:srgbClr val="1F318D"/>
          </a:solidFill>
          <a:latin typeface="Tahoma" pitchFamily="34" charset="0"/>
          <a:cs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4400">
          <a:solidFill>
            <a:srgbClr val="1F318D"/>
          </a:solidFill>
          <a:latin typeface="Tahoma" pitchFamily="34" charset="0"/>
          <a:cs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4400">
          <a:solidFill>
            <a:srgbClr val="1F318D"/>
          </a:solidFill>
          <a:latin typeface="Tahoma" pitchFamily="34" charset="0"/>
          <a:cs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4400">
          <a:solidFill>
            <a:srgbClr val="1F318D"/>
          </a:solidFill>
          <a:latin typeface="Tahoma" pitchFamily="34" charset="0"/>
          <a:cs typeface="Arial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Clr>
          <a:srgbClr val="E60000"/>
        </a:buClr>
        <a:buSzPct val="85000"/>
        <a:buFont typeface="Wingdings" pitchFamily="2" charset="2"/>
        <a:buChar char="n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Clr>
          <a:srgbClr val="1F318D"/>
        </a:buClr>
        <a:buSzPct val="90000"/>
        <a:buFont typeface="Wingdings" pitchFamily="2" charset="2"/>
        <a:buChar char="è"/>
        <a:defRPr sz="2800">
          <a:solidFill>
            <a:schemeClr val="tx1"/>
          </a:solidFill>
          <a:latin typeface="+mn-lt"/>
          <a:cs typeface="+mn-cs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  <a:cs typeface="+mn-cs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tr-T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8 Nesne" hidden="1"/>
          <p:cNvGraphicFramePr>
            <a:graphicFrameLocks noChangeAspect="1"/>
          </p:cNvGraphicFramePr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68446032"/>
              </p:ext>
            </p:extLst>
          </p:nvPr>
        </p:nvGraphicFramePr>
        <p:xfrm>
          <a:off x="2119" y="1593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9" name="8 Nesne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3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1" name="Rectangle 7"/>
          <p:cNvSpPr>
            <a:spLocks noChangeArrowheads="1"/>
          </p:cNvSpPr>
          <p:nvPr/>
        </p:nvSpPr>
        <p:spPr bwMode="auto">
          <a:xfrm>
            <a:off x="0" y="0"/>
            <a:ext cx="12192000" cy="533400"/>
          </a:xfrm>
          <a:prstGeom prst="rect">
            <a:avLst/>
          </a:prstGeom>
          <a:solidFill>
            <a:srgbClr val="1F318D"/>
          </a:solidFill>
          <a:ln w="38100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tr-TR" sz="4000" b="1">
              <a:solidFill>
                <a:srgbClr val="000000"/>
              </a:solidFill>
              <a:latin typeface="Arial" charset="0"/>
            </a:endParaRPr>
          </a:p>
        </p:txBody>
      </p:sp>
      <p:pic>
        <p:nvPicPr>
          <p:cNvPr id="1027" name="Picture 9" descr="bar"/>
          <p:cNvPicPr>
            <a:picLocks noChangeAspect="1" noChangeArrowheads="1"/>
          </p:cNvPicPr>
          <p:nvPr/>
        </p:nvPicPr>
        <p:blipFill>
          <a:blip r:embed="rId17" cstate="print"/>
          <a:srcRect l="-209" t="59564"/>
          <a:stretch>
            <a:fillRect/>
          </a:stretch>
        </p:blipFill>
        <p:spPr bwMode="auto">
          <a:xfrm>
            <a:off x="-25400" y="538168"/>
            <a:ext cx="12217400" cy="147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28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06400" y="762000"/>
            <a:ext cx="11379200" cy="838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tr-TR"/>
              <a:t>Asıl başlık stili için tıklatın</a:t>
            </a:r>
            <a:endParaRPr lang="en-US"/>
          </a:p>
        </p:txBody>
      </p:sp>
      <p:sp>
        <p:nvSpPr>
          <p:cNvPr id="102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06400" y="1752600"/>
            <a:ext cx="11379200" cy="4800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tr-TR"/>
              <a:t>Asıl metin stillerini düzenlemek için tıklatın</a:t>
            </a:r>
          </a:p>
          <a:p>
            <a:pPr lvl="1"/>
            <a:r>
              <a:rPr lang="tr-TR"/>
              <a:t>İkinci düzey</a:t>
            </a:r>
          </a:p>
          <a:p>
            <a:pPr lvl="2"/>
            <a:r>
              <a:rPr lang="tr-TR"/>
              <a:t>Üçüncü düzey</a:t>
            </a:r>
          </a:p>
          <a:p>
            <a:pPr lvl="3"/>
            <a:r>
              <a:rPr lang="tr-TR"/>
              <a:t>Dördüncü düzey</a:t>
            </a:r>
          </a:p>
          <a:p>
            <a:pPr lvl="4"/>
            <a:r>
              <a:rPr lang="tr-TR"/>
              <a:t>Beşinci düzey</a:t>
            </a:r>
            <a:endParaRPr lang="en-US"/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074400" y="5"/>
            <a:ext cx="1117600" cy="536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sz="1400" b="0">
                <a:solidFill>
                  <a:srgbClr val="CBDDEB"/>
                </a:solidFill>
                <a:latin typeface="+mn-lt"/>
                <a:cs typeface="Arial" charset="0"/>
              </a:defRPr>
            </a:lvl1pPr>
          </a:lstStyle>
          <a:p>
            <a:fld id="{022995AE-6102-443B-9536-DED5237E76D0}" type="slidenum">
              <a:rPr lang="en-US" smtClean="0"/>
              <a:t>‹#›</a:t>
            </a:fld>
            <a:endParaRPr lang="en-US"/>
          </a:p>
        </p:txBody>
      </p:sp>
      <p:sp>
        <p:nvSpPr>
          <p:cNvPr id="1041" name="Line 17"/>
          <p:cNvSpPr>
            <a:spLocks noChangeShapeType="1"/>
          </p:cNvSpPr>
          <p:nvPr/>
        </p:nvSpPr>
        <p:spPr bwMode="auto">
          <a:xfrm>
            <a:off x="11023600" y="95255"/>
            <a:ext cx="0" cy="347663"/>
          </a:xfrm>
          <a:prstGeom prst="line">
            <a:avLst/>
          </a:prstGeom>
          <a:noFill/>
          <a:ln w="31750">
            <a:solidFill>
              <a:schemeClr val="bg1"/>
            </a:solidFill>
            <a:round/>
            <a:headEnd/>
            <a:tailEnd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tr-TR" sz="4000" b="1">
              <a:solidFill>
                <a:srgbClr val="000000"/>
              </a:solidFill>
              <a:latin typeface="Arial" charset="0"/>
            </a:endParaRPr>
          </a:p>
        </p:txBody>
      </p:sp>
      <p:pic>
        <p:nvPicPr>
          <p:cNvPr id="1033" name="Picture 18" descr="Untitled-1"/>
          <p:cNvPicPr>
            <a:picLocks noChangeAspect="1" noChangeArrowheads="1"/>
          </p:cNvPicPr>
          <p:nvPr/>
        </p:nvPicPr>
        <p:blipFill>
          <a:blip r:embed="rId18" cstate="print"/>
          <a:srcRect/>
          <a:stretch>
            <a:fillRect/>
          </a:stretch>
        </p:blipFill>
        <p:spPr bwMode="auto">
          <a:xfrm>
            <a:off x="304800" y="66675"/>
            <a:ext cx="1625600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7712268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5" r:id="rId1"/>
    <p:sldLayoutId id="2147483706" r:id="rId2"/>
    <p:sldLayoutId id="2147483707" r:id="rId3"/>
    <p:sldLayoutId id="2147483708" r:id="rId4"/>
    <p:sldLayoutId id="2147483709" r:id="rId5"/>
    <p:sldLayoutId id="2147483710" r:id="rId6"/>
    <p:sldLayoutId id="2147483711" r:id="rId7"/>
    <p:sldLayoutId id="2147483712" r:id="rId8"/>
    <p:sldLayoutId id="2147483713" r:id="rId9"/>
    <p:sldLayoutId id="2147483714" r:id="rId10"/>
    <p:sldLayoutId id="2147483715" r:id="rId11"/>
    <p:sldLayoutId id="2147483716" r:id="rId12"/>
  </p:sldLayoutIdLst>
  <p:txStyles>
    <p:titleStyle>
      <a:lvl1pPr algn="l" rtl="0" eaLnBrk="1" fontAlgn="base" hangingPunct="1">
        <a:spcBef>
          <a:spcPct val="0"/>
        </a:spcBef>
        <a:spcAft>
          <a:spcPct val="0"/>
        </a:spcAft>
        <a:defRPr sz="4400">
          <a:solidFill>
            <a:srgbClr val="1F318D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4400">
          <a:solidFill>
            <a:srgbClr val="1F318D"/>
          </a:solidFill>
          <a:latin typeface="Tahoma" pitchFamily="34" charset="0"/>
          <a:cs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4400">
          <a:solidFill>
            <a:srgbClr val="1F318D"/>
          </a:solidFill>
          <a:latin typeface="Tahoma" pitchFamily="34" charset="0"/>
          <a:cs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4400">
          <a:solidFill>
            <a:srgbClr val="1F318D"/>
          </a:solidFill>
          <a:latin typeface="Tahoma" pitchFamily="34" charset="0"/>
          <a:cs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4400">
          <a:solidFill>
            <a:srgbClr val="1F318D"/>
          </a:solidFill>
          <a:latin typeface="Tahoma" pitchFamily="34" charset="0"/>
          <a:cs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4400">
          <a:solidFill>
            <a:srgbClr val="1F318D"/>
          </a:solidFill>
          <a:latin typeface="Tahoma" pitchFamily="34" charset="0"/>
          <a:cs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4400">
          <a:solidFill>
            <a:srgbClr val="1F318D"/>
          </a:solidFill>
          <a:latin typeface="Tahoma" pitchFamily="34" charset="0"/>
          <a:cs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4400">
          <a:solidFill>
            <a:srgbClr val="1F318D"/>
          </a:solidFill>
          <a:latin typeface="Tahoma" pitchFamily="34" charset="0"/>
          <a:cs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4400">
          <a:solidFill>
            <a:srgbClr val="1F318D"/>
          </a:solidFill>
          <a:latin typeface="Tahoma" pitchFamily="34" charset="0"/>
          <a:cs typeface="Arial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Clr>
          <a:srgbClr val="E60000"/>
        </a:buClr>
        <a:buSzPct val="85000"/>
        <a:buFont typeface="Wingdings" pitchFamily="2" charset="2"/>
        <a:buChar char="n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Clr>
          <a:srgbClr val="1F318D"/>
        </a:buClr>
        <a:buSzPct val="90000"/>
        <a:buFont typeface="Wingdings" pitchFamily="2" charset="2"/>
        <a:buChar char="è"/>
        <a:defRPr sz="2800">
          <a:solidFill>
            <a:schemeClr val="tx1"/>
          </a:solidFill>
          <a:latin typeface="+mn-lt"/>
          <a:cs typeface="+mn-cs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  <a:cs typeface="+mn-cs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tr-T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9 Nesne" hidden="1"/>
          <p:cNvGraphicFramePr>
            <a:graphicFrameLocks noChangeAspect="1"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692195676"/>
              </p:ext>
            </p:extLst>
          </p:nvPr>
        </p:nvGraphicFramePr>
        <p:xfrm>
          <a:off x="2118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10" name="9 Nesne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91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ikdörtgen 1" hidden="1"/>
          <p:cNvSpPr/>
          <p:nvPr>
            <p:custDataLst>
              <p:tags r:id="rId11"/>
            </p:custDataLst>
          </p:nvPr>
        </p:nvSpPr>
        <p:spPr bwMode="auto">
          <a:xfrm>
            <a:off x="0" y="0"/>
            <a:ext cx="211667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tr-TR" sz="36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anose="020B0604030504040204" pitchFamily="34" charset="0"/>
              <a:ea typeface="+mj-ea"/>
              <a:cs typeface="Arial" panose="020B0604020202020204" pitchFamily="34" charset="0"/>
              <a:sym typeface="Tahoma" panose="020B0604030504040204" pitchFamily="34" charset="0"/>
            </a:endParaRPr>
          </a:p>
        </p:txBody>
      </p:sp>
      <p:sp>
        <p:nvSpPr>
          <p:cNvPr id="1031" name="Rectangle 7"/>
          <p:cNvSpPr>
            <a:spLocks noChangeArrowheads="1"/>
          </p:cNvSpPr>
          <p:nvPr/>
        </p:nvSpPr>
        <p:spPr bwMode="auto">
          <a:xfrm>
            <a:off x="0" y="0"/>
            <a:ext cx="12192000" cy="533400"/>
          </a:xfrm>
          <a:prstGeom prst="rect">
            <a:avLst/>
          </a:prstGeom>
          <a:solidFill>
            <a:srgbClr val="1F318D"/>
          </a:solidFill>
          <a:ln w="38100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tr-TR" sz="40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Arial"/>
            </a:endParaRPr>
          </a:p>
        </p:txBody>
      </p:sp>
      <p:pic>
        <p:nvPicPr>
          <p:cNvPr id="1027" name="Picture 9" descr="bar"/>
          <p:cNvPicPr>
            <a:picLocks noChangeAspect="1" noChangeArrowheads="1"/>
          </p:cNvPicPr>
          <p:nvPr/>
        </p:nvPicPr>
        <p:blipFill>
          <a:blip r:embed="rId14" cstate="print"/>
          <a:srcRect l="-209" t="59564"/>
          <a:stretch>
            <a:fillRect/>
          </a:stretch>
        </p:blipFill>
        <p:spPr bwMode="auto">
          <a:xfrm>
            <a:off x="-25400" y="538166"/>
            <a:ext cx="12217400" cy="147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28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06400" y="762000"/>
            <a:ext cx="11379200" cy="838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tr-TR" dirty="0"/>
              <a:t>Asıl başlık stili için tıklatın</a:t>
            </a:r>
          </a:p>
        </p:txBody>
      </p:sp>
      <p:sp>
        <p:nvSpPr>
          <p:cNvPr id="102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06400" y="1752600"/>
            <a:ext cx="11379200" cy="4800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tr-TR" dirty="0"/>
              <a:t>Asıl metin stillerini düzenlemek için tıklatın</a:t>
            </a:r>
          </a:p>
          <a:p>
            <a:pPr lvl="1"/>
            <a:r>
              <a:rPr lang="tr-TR" dirty="0"/>
              <a:t>İkinci düzey</a:t>
            </a:r>
          </a:p>
          <a:p>
            <a:pPr lvl="2"/>
            <a:r>
              <a:rPr lang="tr-TR" dirty="0"/>
              <a:t>Üçüncü düzey</a:t>
            </a:r>
          </a:p>
          <a:p>
            <a:pPr lvl="3"/>
            <a:r>
              <a:rPr lang="tr-TR" dirty="0"/>
              <a:t>Dördüncü düzey</a:t>
            </a:r>
          </a:p>
          <a:p>
            <a:pPr lvl="4"/>
            <a:r>
              <a:rPr lang="tr-TR" dirty="0"/>
              <a:t>Beşinci düzey</a:t>
            </a: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074400" y="3"/>
            <a:ext cx="1117600" cy="536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sz="1400" b="0">
                <a:solidFill>
                  <a:srgbClr val="CBDDEB"/>
                </a:solidFill>
                <a:latin typeface="+mn-lt"/>
                <a:cs typeface="Arial" charset="0"/>
              </a:defRPr>
            </a:lvl1pPr>
          </a:lstStyle>
          <a:p>
            <a:r>
              <a:rPr lang="tr-TR"/>
              <a:t>Slayt </a:t>
            </a:r>
            <a:fld id="{800B3A91-13D1-4478-9922-86F5EE8FD7B3}" type="slidenum">
              <a:rPr lang="tr-TR" smtClean="0"/>
              <a:pPr/>
              <a:t>‹#›</a:t>
            </a:fld>
            <a:endParaRPr lang="tr-TR"/>
          </a:p>
        </p:txBody>
      </p:sp>
      <p:sp>
        <p:nvSpPr>
          <p:cNvPr id="1041" name="Line 17"/>
          <p:cNvSpPr>
            <a:spLocks noChangeShapeType="1"/>
          </p:cNvSpPr>
          <p:nvPr/>
        </p:nvSpPr>
        <p:spPr bwMode="auto">
          <a:xfrm>
            <a:off x="11023600" y="95253"/>
            <a:ext cx="0" cy="347663"/>
          </a:xfrm>
          <a:prstGeom prst="line">
            <a:avLst/>
          </a:prstGeom>
          <a:noFill/>
          <a:ln w="31750">
            <a:solidFill>
              <a:schemeClr val="bg1"/>
            </a:solidFill>
            <a:round/>
            <a:headEnd/>
            <a:tailEnd/>
          </a:ln>
          <a:effectLst/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tr-TR" sz="40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Arial"/>
            </a:endParaRPr>
          </a:p>
        </p:txBody>
      </p:sp>
      <p:pic>
        <p:nvPicPr>
          <p:cNvPr id="1033" name="Picture 18" descr="Untitled-1"/>
          <p:cNvPicPr>
            <a:picLocks noChangeAspect="1" noChangeArrowheads="1"/>
          </p:cNvPicPr>
          <p:nvPr/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304800" y="66675"/>
            <a:ext cx="1625600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510972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8" r:id="rId1"/>
    <p:sldLayoutId id="2147483719" r:id="rId2"/>
    <p:sldLayoutId id="2147483720" r:id="rId3"/>
    <p:sldLayoutId id="2147483721" r:id="rId4"/>
    <p:sldLayoutId id="2147483722" r:id="rId5"/>
    <p:sldLayoutId id="2147483723" r:id="rId6"/>
    <p:sldLayoutId id="2147483724" r:id="rId7"/>
    <p:sldLayoutId id="2147483725" r:id="rId8"/>
  </p:sldLayoutIdLs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3600" b="1">
          <a:solidFill>
            <a:srgbClr val="1F318D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4400">
          <a:solidFill>
            <a:srgbClr val="1F318D"/>
          </a:solidFill>
          <a:latin typeface="Tahoma" pitchFamily="34" charset="0"/>
          <a:cs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4400">
          <a:solidFill>
            <a:srgbClr val="1F318D"/>
          </a:solidFill>
          <a:latin typeface="Tahoma" pitchFamily="34" charset="0"/>
          <a:cs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4400">
          <a:solidFill>
            <a:srgbClr val="1F318D"/>
          </a:solidFill>
          <a:latin typeface="Tahoma" pitchFamily="34" charset="0"/>
          <a:cs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4400">
          <a:solidFill>
            <a:srgbClr val="1F318D"/>
          </a:solidFill>
          <a:latin typeface="Tahoma" pitchFamily="34" charset="0"/>
          <a:cs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4400">
          <a:solidFill>
            <a:srgbClr val="1F318D"/>
          </a:solidFill>
          <a:latin typeface="Tahoma" pitchFamily="34" charset="0"/>
          <a:cs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4400">
          <a:solidFill>
            <a:srgbClr val="1F318D"/>
          </a:solidFill>
          <a:latin typeface="Tahoma" pitchFamily="34" charset="0"/>
          <a:cs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4400">
          <a:solidFill>
            <a:srgbClr val="1F318D"/>
          </a:solidFill>
          <a:latin typeface="Tahoma" pitchFamily="34" charset="0"/>
          <a:cs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4400">
          <a:solidFill>
            <a:srgbClr val="1F318D"/>
          </a:solidFill>
          <a:latin typeface="Tahoma" pitchFamily="34" charset="0"/>
          <a:cs typeface="Arial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Clr>
          <a:srgbClr val="E60000"/>
        </a:buClr>
        <a:buSzPct val="85000"/>
        <a:buFont typeface="Wingdings" pitchFamily="2" charset="2"/>
        <a:buChar char="n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Clr>
          <a:srgbClr val="1F318D"/>
        </a:buClr>
        <a:buSzPct val="90000"/>
        <a:buFont typeface="Wingdings" pitchFamily="2" charset="2"/>
        <a:buChar char="è"/>
        <a:defRPr sz="2800">
          <a:solidFill>
            <a:schemeClr val="tx1"/>
          </a:solidFill>
          <a:latin typeface="+mn-lt"/>
          <a:cs typeface="+mn-cs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  <a:cs typeface="+mn-cs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tr-T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8 Nesne" hidden="1"/>
          <p:cNvGraphicFramePr>
            <a:graphicFrameLocks noChangeAspect="1"/>
          </p:cNvGraphicFramePr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68446032"/>
              </p:ext>
            </p:extLst>
          </p:nvPr>
        </p:nvGraphicFramePr>
        <p:xfrm>
          <a:off x="2119" y="1593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9" name="8 Nesne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3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1" name="Rectangle 7"/>
          <p:cNvSpPr>
            <a:spLocks noChangeArrowheads="1"/>
          </p:cNvSpPr>
          <p:nvPr/>
        </p:nvSpPr>
        <p:spPr bwMode="auto">
          <a:xfrm>
            <a:off x="0" y="0"/>
            <a:ext cx="12192000" cy="533400"/>
          </a:xfrm>
          <a:prstGeom prst="rect">
            <a:avLst/>
          </a:prstGeom>
          <a:solidFill>
            <a:srgbClr val="1F318D"/>
          </a:solidFill>
          <a:ln w="38100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tr-TR" sz="4000" b="1">
              <a:solidFill>
                <a:srgbClr val="000000"/>
              </a:solidFill>
              <a:latin typeface="Arial" charset="0"/>
            </a:endParaRPr>
          </a:p>
        </p:txBody>
      </p:sp>
      <p:pic>
        <p:nvPicPr>
          <p:cNvPr id="1027" name="Picture 9" descr="bar"/>
          <p:cNvPicPr>
            <a:picLocks noChangeAspect="1" noChangeArrowheads="1"/>
          </p:cNvPicPr>
          <p:nvPr/>
        </p:nvPicPr>
        <p:blipFill>
          <a:blip r:embed="rId17" cstate="print"/>
          <a:srcRect l="-209" t="59564"/>
          <a:stretch>
            <a:fillRect/>
          </a:stretch>
        </p:blipFill>
        <p:spPr bwMode="auto">
          <a:xfrm>
            <a:off x="-25400" y="538168"/>
            <a:ext cx="12217400" cy="147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28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06400" y="762000"/>
            <a:ext cx="11379200" cy="838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tr-TR"/>
              <a:t>Asıl başlık stili için tıklatın</a:t>
            </a:r>
            <a:endParaRPr lang="en-US"/>
          </a:p>
        </p:txBody>
      </p:sp>
      <p:sp>
        <p:nvSpPr>
          <p:cNvPr id="102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06400" y="1752600"/>
            <a:ext cx="11379200" cy="4800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tr-TR"/>
              <a:t>Asıl metin stillerini düzenlemek için tıklatın</a:t>
            </a:r>
          </a:p>
          <a:p>
            <a:pPr lvl="1"/>
            <a:r>
              <a:rPr lang="tr-TR"/>
              <a:t>İkinci düzey</a:t>
            </a:r>
          </a:p>
          <a:p>
            <a:pPr lvl="2"/>
            <a:r>
              <a:rPr lang="tr-TR"/>
              <a:t>Üçüncü düzey</a:t>
            </a:r>
          </a:p>
          <a:p>
            <a:pPr lvl="3"/>
            <a:r>
              <a:rPr lang="tr-TR"/>
              <a:t>Dördüncü düzey</a:t>
            </a:r>
          </a:p>
          <a:p>
            <a:pPr lvl="4"/>
            <a:r>
              <a:rPr lang="tr-TR"/>
              <a:t>Beşinci düzey</a:t>
            </a:r>
            <a:endParaRPr lang="en-US"/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074400" y="5"/>
            <a:ext cx="1117600" cy="536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sz="1400" b="0">
                <a:solidFill>
                  <a:srgbClr val="CBDDEB"/>
                </a:solidFill>
                <a:latin typeface="+mn-lt"/>
                <a:cs typeface="Arial" charset="0"/>
              </a:defRPr>
            </a:lvl1pPr>
          </a:lstStyle>
          <a:p>
            <a:fld id="{022995AE-6102-443B-9536-DED5237E76D0}" type="slidenum">
              <a:rPr lang="en-US" smtClean="0"/>
              <a:t>‹#›</a:t>
            </a:fld>
            <a:endParaRPr lang="en-US"/>
          </a:p>
        </p:txBody>
      </p:sp>
      <p:sp>
        <p:nvSpPr>
          <p:cNvPr id="1041" name="Line 17"/>
          <p:cNvSpPr>
            <a:spLocks noChangeShapeType="1"/>
          </p:cNvSpPr>
          <p:nvPr/>
        </p:nvSpPr>
        <p:spPr bwMode="auto">
          <a:xfrm>
            <a:off x="11023600" y="95255"/>
            <a:ext cx="0" cy="347663"/>
          </a:xfrm>
          <a:prstGeom prst="line">
            <a:avLst/>
          </a:prstGeom>
          <a:noFill/>
          <a:ln w="31750">
            <a:solidFill>
              <a:schemeClr val="bg1"/>
            </a:solidFill>
            <a:round/>
            <a:headEnd/>
            <a:tailEnd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tr-TR" sz="4000" b="1">
              <a:solidFill>
                <a:srgbClr val="000000"/>
              </a:solidFill>
              <a:latin typeface="Arial" charset="0"/>
            </a:endParaRPr>
          </a:p>
        </p:txBody>
      </p:sp>
      <p:pic>
        <p:nvPicPr>
          <p:cNvPr id="1033" name="Picture 18" descr="Untitled-1"/>
          <p:cNvPicPr>
            <a:picLocks noChangeAspect="1" noChangeArrowheads="1"/>
          </p:cNvPicPr>
          <p:nvPr/>
        </p:nvPicPr>
        <p:blipFill>
          <a:blip r:embed="rId18" cstate="print"/>
          <a:srcRect/>
          <a:stretch>
            <a:fillRect/>
          </a:stretch>
        </p:blipFill>
        <p:spPr bwMode="auto">
          <a:xfrm>
            <a:off x="304800" y="66675"/>
            <a:ext cx="1625600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6721933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7" r:id="rId1"/>
    <p:sldLayoutId id="2147483728" r:id="rId2"/>
    <p:sldLayoutId id="2147483729" r:id="rId3"/>
    <p:sldLayoutId id="2147483730" r:id="rId4"/>
    <p:sldLayoutId id="2147483731" r:id="rId5"/>
    <p:sldLayoutId id="2147483732" r:id="rId6"/>
    <p:sldLayoutId id="2147483733" r:id="rId7"/>
    <p:sldLayoutId id="2147483734" r:id="rId8"/>
    <p:sldLayoutId id="2147483735" r:id="rId9"/>
    <p:sldLayoutId id="2147483736" r:id="rId10"/>
    <p:sldLayoutId id="2147483737" r:id="rId11"/>
    <p:sldLayoutId id="2147483738" r:id="rId12"/>
  </p:sldLayoutIdLst>
  <p:txStyles>
    <p:titleStyle>
      <a:lvl1pPr algn="l" rtl="0" eaLnBrk="1" fontAlgn="base" hangingPunct="1">
        <a:spcBef>
          <a:spcPct val="0"/>
        </a:spcBef>
        <a:spcAft>
          <a:spcPct val="0"/>
        </a:spcAft>
        <a:defRPr sz="4400">
          <a:solidFill>
            <a:srgbClr val="1F318D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4400">
          <a:solidFill>
            <a:srgbClr val="1F318D"/>
          </a:solidFill>
          <a:latin typeface="Tahoma" pitchFamily="34" charset="0"/>
          <a:cs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4400">
          <a:solidFill>
            <a:srgbClr val="1F318D"/>
          </a:solidFill>
          <a:latin typeface="Tahoma" pitchFamily="34" charset="0"/>
          <a:cs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4400">
          <a:solidFill>
            <a:srgbClr val="1F318D"/>
          </a:solidFill>
          <a:latin typeface="Tahoma" pitchFamily="34" charset="0"/>
          <a:cs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4400">
          <a:solidFill>
            <a:srgbClr val="1F318D"/>
          </a:solidFill>
          <a:latin typeface="Tahoma" pitchFamily="34" charset="0"/>
          <a:cs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4400">
          <a:solidFill>
            <a:srgbClr val="1F318D"/>
          </a:solidFill>
          <a:latin typeface="Tahoma" pitchFamily="34" charset="0"/>
          <a:cs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4400">
          <a:solidFill>
            <a:srgbClr val="1F318D"/>
          </a:solidFill>
          <a:latin typeface="Tahoma" pitchFamily="34" charset="0"/>
          <a:cs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4400">
          <a:solidFill>
            <a:srgbClr val="1F318D"/>
          </a:solidFill>
          <a:latin typeface="Tahoma" pitchFamily="34" charset="0"/>
          <a:cs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4400">
          <a:solidFill>
            <a:srgbClr val="1F318D"/>
          </a:solidFill>
          <a:latin typeface="Tahoma" pitchFamily="34" charset="0"/>
          <a:cs typeface="Arial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Clr>
          <a:srgbClr val="E60000"/>
        </a:buClr>
        <a:buSzPct val="85000"/>
        <a:buFont typeface="Wingdings" pitchFamily="2" charset="2"/>
        <a:buChar char="n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Clr>
          <a:srgbClr val="1F318D"/>
        </a:buClr>
        <a:buSzPct val="90000"/>
        <a:buFont typeface="Wingdings" pitchFamily="2" charset="2"/>
        <a:buChar char="è"/>
        <a:defRPr sz="2800">
          <a:solidFill>
            <a:schemeClr val="tx1"/>
          </a:solidFill>
          <a:latin typeface="+mn-lt"/>
          <a:cs typeface="+mn-cs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  <a:cs typeface="+mn-cs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tr-T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9 Nesne" hidden="1"/>
          <p:cNvGraphicFramePr>
            <a:graphicFrameLocks noChangeAspect="1"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692195676"/>
              </p:ext>
            </p:extLst>
          </p:nvPr>
        </p:nvGraphicFramePr>
        <p:xfrm>
          <a:off x="2118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10" name="9 Nesne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91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ikdörtgen 1" hidden="1"/>
          <p:cNvSpPr/>
          <p:nvPr>
            <p:custDataLst>
              <p:tags r:id="rId11"/>
            </p:custDataLst>
          </p:nvPr>
        </p:nvSpPr>
        <p:spPr bwMode="auto">
          <a:xfrm>
            <a:off x="0" y="0"/>
            <a:ext cx="211667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tr-TR" sz="36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ahoma" panose="020B0604030504040204" pitchFamily="34" charset="0"/>
              <a:ea typeface="+mj-ea"/>
              <a:cs typeface="Arial" panose="020B0604020202020204" pitchFamily="34" charset="0"/>
              <a:sym typeface="Tahoma" panose="020B0604030504040204" pitchFamily="34" charset="0"/>
            </a:endParaRPr>
          </a:p>
        </p:txBody>
      </p:sp>
      <p:sp>
        <p:nvSpPr>
          <p:cNvPr id="1031" name="Rectangle 7"/>
          <p:cNvSpPr>
            <a:spLocks noChangeArrowheads="1"/>
          </p:cNvSpPr>
          <p:nvPr/>
        </p:nvSpPr>
        <p:spPr bwMode="auto">
          <a:xfrm>
            <a:off x="0" y="0"/>
            <a:ext cx="12192000" cy="533400"/>
          </a:xfrm>
          <a:prstGeom prst="rect">
            <a:avLst/>
          </a:prstGeom>
          <a:solidFill>
            <a:srgbClr val="1F318D"/>
          </a:solidFill>
          <a:ln w="38100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tr-TR" sz="40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Arial"/>
            </a:endParaRPr>
          </a:p>
        </p:txBody>
      </p:sp>
      <p:pic>
        <p:nvPicPr>
          <p:cNvPr id="1027" name="Picture 9" descr="bar"/>
          <p:cNvPicPr>
            <a:picLocks noChangeAspect="1" noChangeArrowheads="1"/>
          </p:cNvPicPr>
          <p:nvPr/>
        </p:nvPicPr>
        <p:blipFill>
          <a:blip r:embed="rId14" cstate="print"/>
          <a:srcRect l="-209" t="59564"/>
          <a:stretch>
            <a:fillRect/>
          </a:stretch>
        </p:blipFill>
        <p:spPr bwMode="auto">
          <a:xfrm>
            <a:off x="-25400" y="538166"/>
            <a:ext cx="12217400" cy="147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28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06400" y="762000"/>
            <a:ext cx="11379200" cy="838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tr-TR" dirty="0"/>
              <a:t>Asıl başlık stili için tıklatın</a:t>
            </a:r>
          </a:p>
        </p:txBody>
      </p:sp>
      <p:sp>
        <p:nvSpPr>
          <p:cNvPr id="102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06400" y="1752600"/>
            <a:ext cx="11379200" cy="4800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tr-TR" dirty="0"/>
              <a:t>Asıl metin stillerini düzenlemek için tıklatın</a:t>
            </a:r>
          </a:p>
          <a:p>
            <a:pPr lvl="1"/>
            <a:r>
              <a:rPr lang="tr-TR" dirty="0"/>
              <a:t>İkinci düzey</a:t>
            </a:r>
          </a:p>
          <a:p>
            <a:pPr lvl="2"/>
            <a:r>
              <a:rPr lang="tr-TR" dirty="0"/>
              <a:t>Üçüncü düzey</a:t>
            </a:r>
          </a:p>
          <a:p>
            <a:pPr lvl="3"/>
            <a:r>
              <a:rPr lang="tr-TR" dirty="0"/>
              <a:t>Dördüncü düzey</a:t>
            </a:r>
          </a:p>
          <a:p>
            <a:pPr lvl="4"/>
            <a:r>
              <a:rPr lang="tr-TR" dirty="0"/>
              <a:t>Beşinci düzey</a:t>
            </a: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074400" y="3"/>
            <a:ext cx="1117600" cy="536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sz="1400" b="0">
                <a:solidFill>
                  <a:srgbClr val="CBDDEB"/>
                </a:solidFill>
                <a:latin typeface="+mn-lt"/>
                <a:cs typeface="Arial" charset="0"/>
              </a:defRPr>
            </a:lvl1pPr>
          </a:lstStyle>
          <a:p>
            <a:r>
              <a:rPr lang="tr-TR"/>
              <a:t>Slayt </a:t>
            </a:r>
            <a:fld id="{800B3A91-13D1-4478-9922-86F5EE8FD7B3}" type="slidenum">
              <a:rPr lang="tr-TR" smtClean="0"/>
              <a:pPr/>
              <a:t>‹#›</a:t>
            </a:fld>
            <a:endParaRPr lang="tr-TR"/>
          </a:p>
        </p:txBody>
      </p:sp>
      <p:sp>
        <p:nvSpPr>
          <p:cNvPr id="1041" name="Line 17"/>
          <p:cNvSpPr>
            <a:spLocks noChangeShapeType="1"/>
          </p:cNvSpPr>
          <p:nvPr/>
        </p:nvSpPr>
        <p:spPr bwMode="auto">
          <a:xfrm>
            <a:off x="11023600" y="95253"/>
            <a:ext cx="0" cy="347663"/>
          </a:xfrm>
          <a:prstGeom prst="line">
            <a:avLst/>
          </a:prstGeom>
          <a:noFill/>
          <a:ln w="31750">
            <a:solidFill>
              <a:schemeClr val="bg1"/>
            </a:solidFill>
            <a:round/>
            <a:headEnd/>
            <a:tailEnd/>
          </a:ln>
          <a:effectLst/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tr-TR" sz="40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Arial"/>
            </a:endParaRPr>
          </a:p>
        </p:txBody>
      </p:sp>
      <p:pic>
        <p:nvPicPr>
          <p:cNvPr id="1033" name="Picture 18" descr="Untitled-1"/>
          <p:cNvPicPr>
            <a:picLocks noChangeAspect="1" noChangeArrowheads="1"/>
          </p:cNvPicPr>
          <p:nvPr/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304800" y="66675"/>
            <a:ext cx="1625600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8326924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0" r:id="rId1"/>
    <p:sldLayoutId id="2147483741" r:id="rId2"/>
    <p:sldLayoutId id="2147483742" r:id="rId3"/>
    <p:sldLayoutId id="2147483743" r:id="rId4"/>
    <p:sldLayoutId id="2147483744" r:id="rId5"/>
    <p:sldLayoutId id="2147483745" r:id="rId6"/>
    <p:sldLayoutId id="2147483746" r:id="rId7"/>
    <p:sldLayoutId id="2147483747" r:id="rId8"/>
  </p:sldLayoutIdLs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3600" b="1">
          <a:solidFill>
            <a:srgbClr val="1F318D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4400">
          <a:solidFill>
            <a:srgbClr val="1F318D"/>
          </a:solidFill>
          <a:latin typeface="Tahoma" pitchFamily="34" charset="0"/>
          <a:cs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4400">
          <a:solidFill>
            <a:srgbClr val="1F318D"/>
          </a:solidFill>
          <a:latin typeface="Tahoma" pitchFamily="34" charset="0"/>
          <a:cs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4400">
          <a:solidFill>
            <a:srgbClr val="1F318D"/>
          </a:solidFill>
          <a:latin typeface="Tahoma" pitchFamily="34" charset="0"/>
          <a:cs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4400">
          <a:solidFill>
            <a:srgbClr val="1F318D"/>
          </a:solidFill>
          <a:latin typeface="Tahoma" pitchFamily="34" charset="0"/>
          <a:cs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4400">
          <a:solidFill>
            <a:srgbClr val="1F318D"/>
          </a:solidFill>
          <a:latin typeface="Tahoma" pitchFamily="34" charset="0"/>
          <a:cs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4400">
          <a:solidFill>
            <a:srgbClr val="1F318D"/>
          </a:solidFill>
          <a:latin typeface="Tahoma" pitchFamily="34" charset="0"/>
          <a:cs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4400">
          <a:solidFill>
            <a:srgbClr val="1F318D"/>
          </a:solidFill>
          <a:latin typeface="Tahoma" pitchFamily="34" charset="0"/>
          <a:cs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4400">
          <a:solidFill>
            <a:srgbClr val="1F318D"/>
          </a:solidFill>
          <a:latin typeface="Tahoma" pitchFamily="34" charset="0"/>
          <a:cs typeface="Arial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Clr>
          <a:srgbClr val="E60000"/>
        </a:buClr>
        <a:buSzPct val="85000"/>
        <a:buFont typeface="Wingdings" pitchFamily="2" charset="2"/>
        <a:buChar char="n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Clr>
          <a:srgbClr val="1F318D"/>
        </a:buClr>
        <a:buSzPct val="90000"/>
        <a:buFont typeface="Wingdings" pitchFamily="2" charset="2"/>
        <a:buChar char="è"/>
        <a:defRPr sz="2800">
          <a:solidFill>
            <a:schemeClr val="tx1"/>
          </a:solidFill>
          <a:latin typeface="+mn-lt"/>
          <a:cs typeface="+mn-cs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  <a:cs typeface="+mn-cs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tr-T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8.xml"/><Relationship Id="rId1" Type="http://schemas.openxmlformats.org/officeDocument/2006/relationships/slideLayout" Target="../slideLayouts/slideLayout1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9.xml"/><Relationship Id="rId1" Type="http://schemas.openxmlformats.org/officeDocument/2006/relationships/slideLayout" Target="../slideLayouts/slideLayout1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0.xml"/><Relationship Id="rId1" Type="http://schemas.openxmlformats.org/officeDocument/2006/relationships/slideLayout" Target="../slideLayouts/slideLayout14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1.xml"/><Relationship Id="rId1" Type="http://schemas.openxmlformats.org/officeDocument/2006/relationships/slideLayout" Target="../slideLayouts/slideLayout14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2.xml"/><Relationship Id="rId1" Type="http://schemas.openxmlformats.org/officeDocument/2006/relationships/slideLayout" Target="../slideLayouts/slideLayout1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4.xml"/><Relationship Id="rId2" Type="http://schemas.openxmlformats.org/officeDocument/2006/relationships/chart" Target="../charts/chart13.xml"/><Relationship Id="rId1" Type="http://schemas.openxmlformats.org/officeDocument/2006/relationships/slideLayout" Target="../slideLayouts/slideLayout14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6.xml"/><Relationship Id="rId2" Type="http://schemas.openxmlformats.org/officeDocument/2006/relationships/chart" Target="../charts/chart15.xml"/><Relationship Id="rId1" Type="http://schemas.openxmlformats.org/officeDocument/2006/relationships/slideLayout" Target="../slideLayouts/slideLayout14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1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1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1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1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6.xml"/><Relationship Id="rId1" Type="http://schemas.openxmlformats.org/officeDocument/2006/relationships/slideLayout" Target="../slideLayouts/slideLayout1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7.xml"/><Relationship Id="rId1" Type="http://schemas.openxmlformats.org/officeDocument/2006/relationships/slideLayout" Target="../slideLayouts/slideLayout1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AE5F055-71DB-D386-A9EA-83EAFCBA4ED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14400" y="1803857"/>
            <a:ext cx="10363200" cy="1726617"/>
          </a:xfrm>
        </p:spPr>
        <p:txBody>
          <a:bodyPr/>
          <a:lstStyle/>
          <a:p>
            <a:pPr algn="ctr"/>
            <a:r>
              <a:rPr lang="tr-TR" dirty="0"/>
              <a:t>Global </a:t>
            </a:r>
            <a:r>
              <a:rPr lang="tr-TR" dirty="0" err="1"/>
              <a:t>Trends</a:t>
            </a:r>
            <a:r>
              <a:rPr lang="tr-TR" dirty="0"/>
              <a:t> </a:t>
            </a:r>
            <a:br>
              <a:rPr lang="tr-TR" dirty="0"/>
            </a:br>
            <a:r>
              <a:rPr lang="tr-TR" dirty="0" err="1"/>
              <a:t>and</a:t>
            </a:r>
            <a:r>
              <a:rPr lang="tr-TR" dirty="0"/>
              <a:t> </a:t>
            </a:r>
            <a:br>
              <a:rPr lang="tr-TR" dirty="0"/>
            </a:br>
            <a:r>
              <a:rPr lang="tr-TR" dirty="0"/>
              <a:t>Macro-</a:t>
            </a:r>
            <a:r>
              <a:rPr lang="tr-TR" dirty="0" err="1"/>
              <a:t>financial</a:t>
            </a:r>
            <a:r>
              <a:rPr lang="tr-TR" dirty="0"/>
              <a:t> </a:t>
            </a:r>
            <a:r>
              <a:rPr lang="tr-TR" dirty="0" err="1"/>
              <a:t>Challenges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8E02BA8-D0C9-E142-339D-BD066BC5BDD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828800" y="4348065"/>
            <a:ext cx="8534400" cy="1395381"/>
          </a:xfrm>
        </p:spPr>
        <p:txBody>
          <a:bodyPr/>
          <a:lstStyle/>
          <a:p>
            <a:r>
              <a:rPr lang="tr-TR" sz="2400" dirty="0"/>
              <a:t>Ali Çufadar</a:t>
            </a:r>
          </a:p>
          <a:p>
            <a:r>
              <a:rPr lang="tr-TR" sz="2400" dirty="0" err="1"/>
              <a:t>The</a:t>
            </a:r>
            <a:r>
              <a:rPr lang="tr-TR" sz="2400" dirty="0"/>
              <a:t> </a:t>
            </a:r>
            <a:r>
              <a:rPr lang="tr-TR" sz="2400" dirty="0" err="1"/>
              <a:t>Economic</a:t>
            </a:r>
            <a:r>
              <a:rPr lang="tr-TR" sz="2400" dirty="0"/>
              <a:t> </a:t>
            </a:r>
            <a:r>
              <a:rPr lang="tr-TR" sz="2400" dirty="0" err="1"/>
              <a:t>Research</a:t>
            </a:r>
            <a:r>
              <a:rPr lang="tr-TR" sz="2400" dirty="0"/>
              <a:t> Foundation of Türkiye</a:t>
            </a:r>
          </a:p>
          <a:p>
            <a:r>
              <a:rPr lang="tr-TR" sz="2400" dirty="0" err="1"/>
              <a:t>November</a:t>
            </a:r>
            <a:r>
              <a:rPr lang="tr-TR" sz="2400" dirty="0"/>
              <a:t> 2023, </a:t>
            </a:r>
            <a:r>
              <a:rPr lang="tr-TR" sz="2400" dirty="0" err="1"/>
              <a:t>Moscow</a:t>
            </a: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91517202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C498B6-8BCE-9700-49BA-D7DA528581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6400" y="762000"/>
            <a:ext cx="11379200" cy="371475"/>
          </a:xfrm>
        </p:spPr>
        <p:txBody>
          <a:bodyPr wrap="square" anchor="ctr">
            <a:normAutofit fontScale="90000"/>
          </a:bodyPr>
          <a:lstStyle/>
          <a:p>
            <a:r>
              <a:rPr lang="en-US" sz="2800"/>
              <a:t>Non-financial private sector debt/GDP (%): </a:t>
            </a:r>
            <a:r>
              <a:rPr lang="en-US" sz="2000" i="1">
                <a:solidFill>
                  <a:srgbClr val="C00000"/>
                </a:solidFill>
              </a:rPr>
              <a:t>Relatively more resilient…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C0A3225-291C-9552-BAE6-CBCFCB84BF5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074400" y="3"/>
            <a:ext cx="1117600" cy="536575"/>
          </a:xfrm>
        </p:spPr>
        <p:txBody>
          <a:bodyPr wrap="square" anchor="ctr">
            <a:normAutofit/>
          </a:bodyPr>
          <a:lstStyle/>
          <a:p>
            <a:pPr>
              <a:spcAft>
                <a:spcPts val="600"/>
              </a:spcAft>
              <a:defRPr/>
            </a:pPr>
            <a:r>
              <a:rPr lang="tr-TR"/>
              <a:t>Slayt </a:t>
            </a:r>
            <a:fld id="{800B3A91-13D1-4478-9922-86F5EE8FD7B3}" type="slidenum">
              <a:rPr lang="tr-TR" smtClean="0"/>
              <a:pPr>
                <a:spcAft>
                  <a:spcPts val="600"/>
                </a:spcAft>
                <a:defRPr/>
              </a:pPr>
              <a:t>10</a:t>
            </a:fld>
            <a:endParaRPr lang="tr-TR"/>
          </a:p>
        </p:txBody>
      </p:sp>
      <p:graphicFrame>
        <p:nvGraphicFramePr>
          <p:cNvPr id="3" name="Chart 2">
            <a:extLst>
              <a:ext uri="{FF2B5EF4-FFF2-40B4-BE49-F238E27FC236}">
                <a16:creationId xmlns:a16="http://schemas.microsoft.com/office/drawing/2014/main" id="{DFEBE382-75AE-1CA4-0F71-3A4FB82FD4A4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671040920"/>
              </p:ext>
            </p:extLst>
          </p:nvPr>
        </p:nvGraphicFramePr>
        <p:xfrm>
          <a:off x="406400" y="1209676"/>
          <a:ext cx="11379200" cy="485995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03FC06A9-1DE7-694A-C359-63D3AF8DD08A}"/>
              </a:ext>
            </a:extLst>
          </p:cNvPr>
          <p:cNvSpPr/>
          <p:nvPr/>
        </p:nvSpPr>
        <p:spPr bwMode="auto">
          <a:xfrm>
            <a:off x="676274" y="6069627"/>
            <a:ext cx="5686425" cy="350223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600" dirty="0">
                <a:latin typeface="Arial" charset="0"/>
                <a:cs typeface="Arial" charset="0"/>
              </a:rPr>
              <a:t>Source</a:t>
            </a:r>
            <a:r>
              <a:rPr lang="tr-TR" sz="1600" dirty="0">
                <a:latin typeface="Arial" charset="0"/>
                <a:cs typeface="Arial" charset="0"/>
              </a:rPr>
              <a:t>: BIS  </a:t>
            </a:r>
            <a:endParaRPr kumimoji="0" lang="en-US" sz="160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8911977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C498B6-8BCE-9700-49BA-D7DA528581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6400" y="762000"/>
            <a:ext cx="11379200" cy="536575"/>
          </a:xfrm>
        </p:spPr>
        <p:txBody>
          <a:bodyPr wrap="square" anchor="ctr">
            <a:normAutofit fontScale="90000"/>
          </a:bodyPr>
          <a:lstStyle/>
          <a:p>
            <a:r>
              <a:rPr lang="en-US" sz="2800" dirty="0"/>
              <a:t>Non-financial private sector debt/GDP (%): </a:t>
            </a:r>
            <a:r>
              <a:rPr lang="en-US" sz="2000" i="1" dirty="0">
                <a:solidFill>
                  <a:srgbClr val="C00000"/>
                </a:solidFill>
              </a:rPr>
              <a:t>44 country average, relatively more resilient…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C0A3225-291C-9552-BAE6-CBCFCB84BF5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074400" y="3"/>
            <a:ext cx="1117600" cy="536575"/>
          </a:xfrm>
        </p:spPr>
        <p:txBody>
          <a:bodyPr wrap="square" anchor="ctr">
            <a:normAutofit/>
          </a:bodyPr>
          <a:lstStyle/>
          <a:p>
            <a:pPr>
              <a:spcAft>
                <a:spcPts val="600"/>
              </a:spcAft>
              <a:defRPr/>
            </a:pPr>
            <a:r>
              <a:rPr lang="tr-TR"/>
              <a:t>Slayt </a:t>
            </a:r>
            <a:fld id="{800B3A91-13D1-4478-9922-86F5EE8FD7B3}" type="slidenum">
              <a:rPr lang="tr-TR" smtClean="0"/>
              <a:pPr>
                <a:spcAft>
                  <a:spcPts val="600"/>
                </a:spcAft>
                <a:defRPr/>
              </a:pPr>
              <a:t>11</a:t>
            </a:fld>
            <a:endParaRPr lang="tr-TR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3FC06A9-1DE7-694A-C359-63D3AF8DD08A}"/>
              </a:ext>
            </a:extLst>
          </p:cNvPr>
          <p:cNvSpPr/>
          <p:nvPr/>
        </p:nvSpPr>
        <p:spPr bwMode="auto">
          <a:xfrm>
            <a:off x="676274" y="6069627"/>
            <a:ext cx="5686425" cy="350223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600" dirty="0">
                <a:latin typeface="Arial" charset="0"/>
                <a:cs typeface="Arial" charset="0"/>
              </a:rPr>
              <a:t>Source</a:t>
            </a:r>
            <a:r>
              <a:rPr lang="tr-TR" sz="1600" dirty="0">
                <a:latin typeface="Arial" charset="0"/>
                <a:cs typeface="Arial" charset="0"/>
              </a:rPr>
              <a:t>: BIS  </a:t>
            </a:r>
            <a:endParaRPr kumimoji="0" lang="en-US" sz="160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7CEFB84E-E528-D281-C7BA-AB8726552FD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794543280"/>
              </p:ext>
            </p:extLst>
          </p:nvPr>
        </p:nvGraphicFramePr>
        <p:xfrm>
          <a:off x="590549" y="1543049"/>
          <a:ext cx="10982325" cy="452657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360136957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C498B6-8BCE-9700-49BA-D7DA528581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6400" y="762000"/>
            <a:ext cx="11379200" cy="438150"/>
          </a:xfrm>
        </p:spPr>
        <p:txBody>
          <a:bodyPr wrap="square" anchor="ctr">
            <a:normAutofit fontScale="90000"/>
          </a:bodyPr>
          <a:lstStyle/>
          <a:p>
            <a:r>
              <a:rPr lang="en-US" sz="2800"/>
              <a:t>Interest rates (%): </a:t>
            </a:r>
            <a:r>
              <a:rPr lang="en-US" sz="1800" i="1">
                <a:solidFill>
                  <a:srgbClr val="C00000"/>
                </a:solidFill>
              </a:rPr>
              <a:t>After years of negative real interest rates; debt will be more costly…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C0A3225-291C-9552-BAE6-CBCFCB84BF5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074400" y="3"/>
            <a:ext cx="1117600" cy="536575"/>
          </a:xfrm>
        </p:spPr>
        <p:txBody>
          <a:bodyPr wrap="square" anchor="ctr">
            <a:normAutofit/>
          </a:bodyPr>
          <a:lstStyle/>
          <a:p>
            <a:pPr>
              <a:spcAft>
                <a:spcPts val="600"/>
              </a:spcAft>
              <a:defRPr/>
            </a:pPr>
            <a:r>
              <a:rPr lang="tr-TR"/>
              <a:t>Slayt </a:t>
            </a:r>
            <a:fld id="{800B3A91-13D1-4478-9922-86F5EE8FD7B3}" type="slidenum">
              <a:rPr lang="tr-TR" smtClean="0"/>
              <a:pPr>
                <a:spcAft>
                  <a:spcPts val="600"/>
                </a:spcAft>
                <a:defRPr/>
              </a:pPr>
              <a:t>12</a:t>
            </a:fld>
            <a:endParaRPr lang="tr-TR"/>
          </a:p>
        </p:txBody>
      </p:sp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0671AAB3-270B-4F0A-9FF0-739BF4DF71A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840936276"/>
              </p:ext>
            </p:extLst>
          </p:nvPr>
        </p:nvGraphicFramePr>
        <p:xfrm>
          <a:off x="406400" y="1435097"/>
          <a:ext cx="11379200" cy="438467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C6DF4821-D722-1836-68F6-634D7B523F5E}"/>
              </a:ext>
            </a:extLst>
          </p:cNvPr>
          <p:cNvSpPr txBox="1"/>
          <p:nvPr/>
        </p:nvSpPr>
        <p:spPr>
          <a:xfrm>
            <a:off x="406400" y="5851007"/>
            <a:ext cx="6110286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tr-TR" sz="1600" dirty="0">
                <a:solidFill>
                  <a:srgbClr val="002060"/>
                </a:solidFill>
                <a:latin typeface="Ariel"/>
              </a:rPr>
              <a:t>Source: U.S. </a:t>
            </a:r>
            <a:r>
              <a:rPr lang="en-US" sz="1600" dirty="0">
                <a:solidFill>
                  <a:srgbClr val="002060"/>
                </a:solidFill>
                <a:latin typeface="Ariel"/>
              </a:rPr>
              <a:t>Bureau of Labor Statistics</a:t>
            </a:r>
          </a:p>
        </p:txBody>
      </p:sp>
    </p:spTree>
    <p:extLst>
      <p:ext uri="{BB962C8B-B14F-4D97-AF65-F5344CB8AC3E}">
        <p14:creationId xmlns:p14="http://schemas.microsoft.com/office/powerpoint/2010/main" val="157149428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C498B6-8BCE-9700-49BA-D7DA528581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6400" y="762000"/>
            <a:ext cx="11379200" cy="536575"/>
          </a:xfrm>
        </p:spPr>
        <p:txBody>
          <a:bodyPr wrap="square" anchor="ctr">
            <a:normAutofit fontScale="90000"/>
          </a:bodyPr>
          <a:lstStyle/>
          <a:p>
            <a:r>
              <a:rPr lang="en-US" sz="2800" dirty="0"/>
              <a:t>Real interest rates (%): </a:t>
            </a:r>
            <a:r>
              <a:rPr lang="en-US" sz="2000" i="1" dirty="0">
                <a:solidFill>
                  <a:srgbClr val="C00000"/>
                </a:solidFill>
              </a:rPr>
              <a:t>Our memories with positive real interest rates are not pleas</a:t>
            </a:r>
            <a:r>
              <a:rPr lang="tr-TR" sz="2000" i="1" dirty="0">
                <a:solidFill>
                  <a:srgbClr val="C00000"/>
                </a:solidFill>
              </a:rPr>
              <a:t>a</a:t>
            </a:r>
            <a:r>
              <a:rPr lang="en-US" sz="2000" i="1" dirty="0">
                <a:solidFill>
                  <a:srgbClr val="C00000"/>
                </a:solidFill>
              </a:rPr>
              <a:t>nt...    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C0A3225-291C-9552-BAE6-CBCFCB84BF5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074400" y="3"/>
            <a:ext cx="1117600" cy="536575"/>
          </a:xfrm>
        </p:spPr>
        <p:txBody>
          <a:bodyPr wrap="square" anchor="ctr">
            <a:normAutofit/>
          </a:bodyPr>
          <a:lstStyle/>
          <a:p>
            <a:pPr>
              <a:spcAft>
                <a:spcPts val="600"/>
              </a:spcAft>
              <a:defRPr/>
            </a:pPr>
            <a:r>
              <a:rPr lang="tr-TR"/>
              <a:t>Slayt </a:t>
            </a:r>
            <a:fld id="{800B3A91-13D1-4478-9922-86F5EE8FD7B3}" type="slidenum">
              <a:rPr lang="tr-TR" smtClean="0"/>
              <a:pPr>
                <a:spcAft>
                  <a:spcPts val="600"/>
                </a:spcAft>
                <a:defRPr/>
              </a:pPr>
              <a:t>13</a:t>
            </a:fld>
            <a:endParaRPr lang="tr-TR"/>
          </a:p>
        </p:txBody>
      </p:sp>
      <p:graphicFrame>
        <p:nvGraphicFramePr>
          <p:cNvPr id="3" name="Chart 2">
            <a:extLst>
              <a:ext uri="{FF2B5EF4-FFF2-40B4-BE49-F238E27FC236}">
                <a16:creationId xmlns:a16="http://schemas.microsoft.com/office/drawing/2014/main" id="{DE9052D6-26A3-4F0F-ABD6-FC65CEFA611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252331680"/>
              </p:ext>
            </p:extLst>
          </p:nvPr>
        </p:nvGraphicFramePr>
        <p:xfrm>
          <a:off x="406400" y="1390650"/>
          <a:ext cx="11379200" cy="47053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E051D2B4-E021-372A-B70C-0335355CEB29}"/>
              </a:ext>
            </a:extLst>
          </p:cNvPr>
          <p:cNvSpPr txBox="1"/>
          <p:nvPr/>
        </p:nvSpPr>
        <p:spPr>
          <a:xfrm>
            <a:off x="406400" y="6188075"/>
            <a:ext cx="6110286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600">
                <a:solidFill>
                  <a:srgbClr val="002060"/>
                </a:solidFill>
                <a:latin typeface="Ariel"/>
              </a:rPr>
              <a:t>Source: Our calculations</a:t>
            </a:r>
          </a:p>
        </p:txBody>
      </p:sp>
    </p:spTree>
    <p:extLst>
      <p:ext uri="{BB962C8B-B14F-4D97-AF65-F5344CB8AC3E}">
        <p14:creationId xmlns:p14="http://schemas.microsoft.com/office/powerpoint/2010/main" val="280996132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C498B6-8BCE-9700-49BA-D7DA528581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6400" y="762000"/>
            <a:ext cx="11379200" cy="536575"/>
          </a:xfrm>
        </p:spPr>
        <p:txBody>
          <a:bodyPr wrap="square" anchor="ctr">
            <a:normAutofit fontScale="90000"/>
          </a:bodyPr>
          <a:lstStyle/>
          <a:p>
            <a:r>
              <a:rPr lang="en-US" sz="2800"/>
              <a:t>CDS (basis points): </a:t>
            </a:r>
            <a:r>
              <a:rPr lang="en-US" sz="2000" i="1">
                <a:solidFill>
                  <a:srgbClr val="C00000"/>
                </a:solidFill>
              </a:rPr>
              <a:t>However, most of the emerging CDSs haven’t been affected...    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C0A3225-291C-9552-BAE6-CBCFCB84BF5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074400" y="3"/>
            <a:ext cx="1117600" cy="536575"/>
          </a:xfrm>
        </p:spPr>
        <p:txBody>
          <a:bodyPr wrap="square" anchor="ctr">
            <a:normAutofit/>
          </a:bodyPr>
          <a:lstStyle/>
          <a:p>
            <a:pPr>
              <a:spcAft>
                <a:spcPts val="600"/>
              </a:spcAft>
              <a:defRPr/>
            </a:pPr>
            <a:r>
              <a:rPr lang="tr-TR"/>
              <a:t>Slayt </a:t>
            </a:r>
            <a:fld id="{800B3A91-13D1-4478-9922-86F5EE8FD7B3}" type="slidenum">
              <a:rPr lang="tr-TR" smtClean="0"/>
              <a:pPr>
                <a:spcAft>
                  <a:spcPts val="600"/>
                </a:spcAft>
                <a:defRPr/>
              </a:pPr>
              <a:t>14</a:t>
            </a:fld>
            <a:endParaRPr lang="tr-TR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051D2B4-E021-372A-B70C-0335355CEB29}"/>
              </a:ext>
            </a:extLst>
          </p:cNvPr>
          <p:cNvSpPr txBox="1"/>
          <p:nvPr/>
        </p:nvSpPr>
        <p:spPr>
          <a:xfrm>
            <a:off x="406400" y="6188075"/>
            <a:ext cx="6110286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600" dirty="0">
                <a:solidFill>
                  <a:srgbClr val="002060"/>
                </a:solidFill>
                <a:latin typeface="Ariel"/>
              </a:rPr>
              <a:t>Source: </a:t>
            </a:r>
            <a:r>
              <a:rPr lang="tr-TR" sz="1600" dirty="0">
                <a:solidFill>
                  <a:srgbClr val="002060"/>
                </a:solidFill>
                <a:latin typeface="Ariel"/>
              </a:rPr>
              <a:t>Bloomberg, </a:t>
            </a:r>
            <a:r>
              <a:rPr lang="en-US" sz="1600" dirty="0">
                <a:solidFill>
                  <a:srgbClr val="002060"/>
                </a:solidFill>
                <a:latin typeface="Ariel"/>
              </a:rPr>
              <a:t>Our calculations</a:t>
            </a:r>
          </a:p>
        </p:txBody>
      </p:sp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id="{7C244DE2-3C9D-4EFF-BEBA-63D4D892A91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500330117"/>
              </p:ext>
            </p:extLst>
          </p:nvPr>
        </p:nvGraphicFramePr>
        <p:xfrm>
          <a:off x="643812" y="1523997"/>
          <a:ext cx="10730204" cy="457200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206253167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C498B6-8BCE-9700-49BA-D7DA528581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6400" y="762000"/>
            <a:ext cx="11379200" cy="536575"/>
          </a:xfrm>
        </p:spPr>
        <p:txBody>
          <a:bodyPr wrap="square" anchor="ctr">
            <a:normAutofit/>
          </a:bodyPr>
          <a:lstStyle/>
          <a:p>
            <a:r>
              <a:rPr lang="en-US" sz="2800"/>
              <a:t>Türkiye: </a:t>
            </a:r>
            <a:r>
              <a:rPr lang="en-US" sz="2000" i="1">
                <a:solidFill>
                  <a:srgbClr val="C00000"/>
                </a:solidFill>
              </a:rPr>
              <a:t>One of the lowest public debt and relatively higher growth…    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C0A3225-291C-9552-BAE6-CBCFCB84BF5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074400" y="3"/>
            <a:ext cx="1117600" cy="536575"/>
          </a:xfrm>
        </p:spPr>
        <p:txBody>
          <a:bodyPr wrap="square" anchor="ctr">
            <a:normAutofit/>
          </a:bodyPr>
          <a:lstStyle/>
          <a:p>
            <a:pPr>
              <a:spcAft>
                <a:spcPts val="600"/>
              </a:spcAft>
              <a:defRPr/>
            </a:pPr>
            <a:r>
              <a:rPr lang="tr-TR"/>
              <a:t>Slayt </a:t>
            </a:r>
            <a:fld id="{800B3A91-13D1-4478-9922-86F5EE8FD7B3}" type="slidenum">
              <a:rPr lang="tr-TR" smtClean="0"/>
              <a:pPr>
                <a:spcAft>
                  <a:spcPts val="600"/>
                </a:spcAft>
                <a:defRPr/>
              </a:pPr>
              <a:t>15</a:t>
            </a:fld>
            <a:endParaRPr lang="tr-TR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051D2B4-E021-372A-B70C-0335355CEB29}"/>
              </a:ext>
            </a:extLst>
          </p:cNvPr>
          <p:cNvSpPr txBox="1"/>
          <p:nvPr/>
        </p:nvSpPr>
        <p:spPr>
          <a:xfrm>
            <a:off x="406400" y="6188075"/>
            <a:ext cx="6110286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600" dirty="0">
                <a:solidFill>
                  <a:srgbClr val="002060"/>
                </a:solidFill>
                <a:latin typeface="Ariel"/>
              </a:rPr>
              <a:t>Source: </a:t>
            </a:r>
            <a:r>
              <a:rPr lang="tr-TR" sz="1600" dirty="0">
                <a:solidFill>
                  <a:srgbClr val="002060"/>
                </a:solidFill>
                <a:latin typeface="Ariel"/>
              </a:rPr>
              <a:t>IMF WEO</a:t>
            </a:r>
            <a:endParaRPr lang="en-US" sz="1600" dirty="0">
              <a:solidFill>
                <a:srgbClr val="002060"/>
              </a:solidFill>
              <a:latin typeface="Ariel"/>
            </a:endParaRPr>
          </a:p>
        </p:txBody>
      </p:sp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id="{B2B9800B-24D2-4788-A5B2-F32BAAE7471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43744012"/>
              </p:ext>
            </p:extLst>
          </p:nvPr>
        </p:nvGraphicFramePr>
        <p:xfrm>
          <a:off x="6096000" y="2012950"/>
          <a:ext cx="5537200" cy="41751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BC126E3B-25AA-44F1-9B38-911B1736BC8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824623627"/>
              </p:ext>
            </p:extLst>
          </p:nvPr>
        </p:nvGraphicFramePr>
        <p:xfrm>
          <a:off x="406399" y="2012950"/>
          <a:ext cx="5537200" cy="417512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8" name="TextBox 7">
            <a:extLst>
              <a:ext uri="{FF2B5EF4-FFF2-40B4-BE49-F238E27FC236}">
                <a16:creationId xmlns:a16="http://schemas.microsoft.com/office/drawing/2014/main" id="{20D5E454-BAD0-83E5-9E8A-854743765C74}"/>
              </a:ext>
            </a:extLst>
          </p:cNvPr>
          <p:cNvSpPr txBox="1"/>
          <p:nvPr/>
        </p:nvSpPr>
        <p:spPr>
          <a:xfrm>
            <a:off x="406400" y="1486485"/>
            <a:ext cx="5537199" cy="338554"/>
          </a:xfrm>
          <a:prstGeom prst="rect">
            <a:avLst/>
          </a:prstGeom>
          <a:noFill/>
          <a:ln w="6350"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r>
              <a:rPr lang="en-US" sz="1600" dirty="0">
                <a:latin typeface="Ariel"/>
              </a:rPr>
              <a:t>Average growth rates (%)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8961307-3E81-7E54-6D76-B53211410F0E}"/>
              </a:ext>
            </a:extLst>
          </p:cNvPr>
          <p:cNvSpPr txBox="1"/>
          <p:nvPr/>
        </p:nvSpPr>
        <p:spPr>
          <a:xfrm>
            <a:off x="6096000" y="1511469"/>
            <a:ext cx="5537200" cy="338554"/>
          </a:xfrm>
          <a:prstGeom prst="rect">
            <a:avLst/>
          </a:prstGeom>
          <a:noFill/>
          <a:ln w="6350"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r>
              <a:rPr lang="en-US" sz="1600">
                <a:latin typeface="Ariel"/>
              </a:rPr>
              <a:t>Government debt / GDP (%)</a:t>
            </a:r>
          </a:p>
        </p:txBody>
      </p:sp>
    </p:spTree>
    <p:extLst>
      <p:ext uri="{BB962C8B-B14F-4D97-AF65-F5344CB8AC3E}">
        <p14:creationId xmlns:p14="http://schemas.microsoft.com/office/powerpoint/2010/main" val="416182495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C498B6-8BCE-9700-49BA-D7DA528581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6400" y="762000"/>
            <a:ext cx="11379200" cy="536575"/>
          </a:xfrm>
        </p:spPr>
        <p:txBody>
          <a:bodyPr wrap="square" anchor="ctr">
            <a:normAutofit/>
          </a:bodyPr>
          <a:lstStyle/>
          <a:p>
            <a:r>
              <a:rPr lang="en-US" sz="2800" dirty="0"/>
              <a:t>Türkiye: </a:t>
            </a:r>
            <a:r>
              <a:rPr lang="en-US" sz="1800" i="1" dirty="0">
                <a:solidFill>
                  <a:srgbClr val="C00000"/>
                </a:solidFill>
              </a:rPr>
              <a:t>But, has inflation, dollarization and net re</a:t>
            </a:r>
            <a:r>
              <a:rPr lang="tr-TR" sz="1800" i="1" dirty="0">
                <a:solidFill>
                  <a:srgbClr val="C00000"/>
                </a:solidFill>
              </a:rPr>
              <a:t>s</a:t>
            </a:r>
            <a:r>
              <a:rPr lang="en-US" sz="1800" i="1" dirty="0" err="1">
                <a:solidFill>
                  <a:srgbClr val="C00000"/>
                </a:solidFill>
              </a:rPr>
              <a:t>erv</a:t>
            </a:r>
            <a:r>
              <a:rPr lang="tr-TR" sz="1800" i="1" dirty="0">
                <a:solidFill>
                  <a:srgbClr val="C00000"/>
                </a:solidFill>
              </a:rPr>
              <a:t>e</a:t>
            </a:r>
            <a:r>
              <a:rPr lang="en-US" sz="1800" i="1" dirty="0">
                <a:solidFill>
                  <a:srgbClr val="C00000"/>
                </a:solidFill>
              </a:rPr>
              <a:t> problem; </a:t>
            </a:r>
            <a:r>
              <a:rPr lang="tr-TR" sz="1800" i="1" dirty="0" err="1">
                <a:solidFill>
                  <a:srgbClr val="C00000"/>
                </a:solidFill>
              </a:rPr>
              <a:t>started</a:t>
            </a:r>
            <a:r>
              <a:rPr lang="tr-TR" sz="1800" i="1" dirty="0">
                <a:solidFill>
                  <a:srgbClr val="C00000"/>
                </a:solidFill>
              </a:rPr>
              <a:t>/</a:t>
            </a:r>
            <a:r>
              <a:rPr lang="tr-TR" sz="1800" i="1">
                <a:solidFill>
                  <a:srgbClr val="C00000"/>
                </a:solidFill>
              </a:rPr>
              <a:t>trying</a:t>
            </a:r>
            <a:r>
              <a:rPr lang="tr-TR" sz="1800" i="1" dirty="0">
                <a:solidFill>
                  <a:srgbClr val="C00000"/>
                </a:solidFill>
              </a:rPr>
              <a:t> </a:t>
            </a:r>
            <a:r>
              <a:rPr lang="tr-TR" sz="1800" i="1" dirty="0" err="1">
                <a:solidFill>
                  <a:srgbClr val="C00000"/>
                </a:solidFill>
              </a:rPr>
              <a:t>to</a:t>
            </a:r>
            <a:r>
              <a:rPr lang="tr-TR" sz="1800" i="1" dirty="0">
                <a:solidFill>
                  <a:srgbClr val="C00000"/>
                </a:solidFill>
              </a:rPr>
              <a:t> </a:t>
            </a:r>
            <a:r>
              <a:rPr lang="tr-TR" sz="1800" i="1" dirty="0" err="1">
                <a:solidFill>
                  <a:srgbClr val="C00000"/>
                </a:solidFill>
              </a:rPr>
              <a:t>solve</a:t>
            </a:r>
            <a:r>
              <a:rPr lang="en-US" sz="1800" i="1" dirty="0">
                <a:solidFill>
                  <a:srgbClr val="C00000"/>
                </a:solidFill>
              </a:rPr>
              <a:t>…  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C0A3225-291C-9552-BAE6-CBCFCB84BF5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074400" y="3"/>
            <a:ext cx="1117600" cy="536575"/>
          </a:xfrm>
        </p:spPr>
        <p:txBody>
          <a:bodyPr wrap="square" anchor="ctr">
            <a:normAutofit/>
          </a:bodyPr>
          <a:lstStyle/>
          <a:p>
            <a:pPr>
              <a:spcAft>
                <a:spcPts val="600"/>
              </a:spcAft>
              <a:defRPr/>
            </a:pPr>
            <a:r>
              <a:rPr lang="tr-TR"/>
              <a:t>Slayt </a:t>
            </a:r>
            <a:fld id="{800B3A91-13D1-4478-9922-86F5EE8FD7B3}" type="slidenum">
              <a:rPr lang="tr-TR" smtClean="0"/>
              <a:pPr>
                <a:spcAft>
                  <a:spcPts val="600"/>
                </a:spcAft>
                <a:defRPr/>
              </a:pPr>
              <a:t>16</a:t>
            </a:fld>
            <a:endParaRPr lang="tr-TR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051D2B4-E021-372A-B70C-0335355CEB29}"/>
              </a:ext>
            </a:extLst>
          </p:cNvPr>
          <p:cNvSpPr txBox="1"/>
          <p:nvPr/>
        </p:nvSpPr>
        <p:spPr>
          <a:xfrm>
            <a:off x="406400" y="6188075"/>
            <a:ext cx="6110286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600" dirty="0">
                <a:solidFill>
                  <a:srgbClr val="002060"/>
                </a:solidFill>
                <a:latin typeface="Ariel"/>
              </a:rPr>
              <a:t>Source: </a:t>
            </a:r>
            <a:r>
              <a:rPr lang="tr-TR" sz="1600" dirty="0">
                <a:solidFill>
                  <a:srgbClr val="002060"/>
                </a:solidFill>
                <a:latin typeface="Ariel"/>
              </a:rPr>
              <a:t>IMF WEO</a:t>
            </a:r>
            <a:endParaRPr lang="en-US" sz="1600" dirty="0">
              <a:solidFill>
                <a:srgbClr val="002060"/>
              </a:solidFill>
              <a:latin typeface="Ariel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0D5E454-BAD0-83E5-9E8A-854743765C74}"/>
              </a:ext>
            </a:extLst>
          </p:cNvPr>
          <p:cNvSpPr txBox="1"/>
          <p:nvPr/>
        </p:nvSpPr>
        <p:spPr>
          <a:xfrm>
            <a:off x="406400" y="1486485"/>
            <a:ext cx="5537199" cy="338554"/>
          </a:xfrm>
          <a:prstGeom prst="rect">
            <a:avLst/>
          </a:prstGeom>
          <a:noFill/>
          <a:ln w="6350"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r>
              <a:rPr lang="en-US" sz="1600">
                <a:latin typeface="Ariel"/>
              </a:rPr>
              <a:t>Inflation rates (%)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8961307-3E81-7E54-6D76-B53211410F0E}"/>
              </a:ext>
            </a:extLst>
          </p:cNvPr>
          <p:cNvSpPr txBox="1"/>
          <p:nvPr/>
        </p:nvSpPr>
        <p:spPr>
          <a:xfrm>
            <a:off x="6096000" y="1511469"/>
            <a:ext cx="5537200" cy="338554"/>
          </a:xfrm>
          <a:prstGeom prst="rect">
            <a:avLst/>
          </a:prstGeom>
          <a:noFill/>
          <a:ln w="6350"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r>
              <a:rPr lang="en-US" sz="1600">
                <a:latin typeface="Ariel"/>
              </a:rPr>
              <a:t>Central bank reserves (billion US$)</a:t>
            </a:r>
          </a:p>
        </p:txBody>
      </p:sp>
      <p:graphicFrame>
        <p:nvGraphicFramePr>
          <p:cNvPr id="3" name="Chart 2">
            <a:extLst>
              <a:ext uri="{FF2B5EF4-FFF2-40B4-BE49-F238E27FC236}">
                <a16:creationId xmlns:a16="http://schemas.microsoft.com/office/drawing/2014/main" id="{311B0EEF-095A-44A1-AA70-67359C53397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127959812"/>
              </p:ext>
            </p:extLst>
          </p:nvPr>
        </p:nvGraphicFramePr>
        <p:xfrm>
          <a:off x="406399" y="1997072"/>
          <a:ext cx="5537199" cy="409892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68A5FC08-F68B-4D91-9F87-D6C01524317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540002624"/>
              </p:ext>
            </p:extLst>
          </p:nvPr>
        </p:nvGraphicFramePr>
        <p:xfrm>
          <a:off x="6095999" y="1997072"/>
          <a:ext cx="5537199" cy="409892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214973591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32F549D-CD74-5C07-B8E8-2A9F67F750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8457" y="762000"/>
            <a:ext cx="11067143" cy="628261"/>
          </a:xfrm>
        </p:spPr>
        <p:txBody>
          <a:bodyPr/>
          <a:lstStyle/>
          <a:p>
            <a:r>
              <a:rPr lang="en-US"/>
              <a:t>Conclus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1198CBE-A14C-984B-E589-C265202898B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8458" y="1600200"/>
            <a:ext cx="11067142" cy="4495800"/>
          </a:xfrm>
        </p:spPr>
        <p:txBody>
          <a:bodyPr/>
          <a:lstStyle/>
          <a:p>
            <a:pPr>
              <a:lnSpc>
                <a:spcPct val="150000"/>
              </a:lnSpc>
              <a:buClr>
                <a:schemeClr val="tx1"/>
              </a:buClr>
              <a:buFont typeface="Wingdings" panose="05000000000000000000" pitchFamily="2" charset="2"/>
              <a:buChar char="ü"/>
            </a:pPr>
            <a:r>
              <a:rPr lang="en-US" sz="1800" dirty="0"/>
              <a:t>Ample and cheap liquidity era is over.</a:t>
            </a:r>
          </a:p>
          <a:p>
            <a:pPr>
              <a:lnSpc>
                <a:spcPct val="150000"/>
              </a:lnSpc>
              <a:buClr>
                <a:schemeClr val="tx1"/>
              </a:buClr>
              <a:buFont typeface="Wingdings" panose="05000000000000000000" pitchFamily="2" charset="2"/>
              <a:buChar char="ü"/>
            </a:pPr>
            <a:r>
              <a:rPr lang="en-US" sz="1800" dirty="0"/>
              <a:t>Emerging and developing countries have unpleasant memories associated with tight global liquidity conditions.</a:t>
            </a:r>
          </a:p>
          <a:p>
            <a:pPr>
              <a:lnSpc>
                <a:spcPct val="150000"/>
              </a:lnSpc>
              <a:buClr>
                <a:schemeClr val="tx1"/>
              </a:buClr>
              <a:buFont typeface="Wingdings" panose="05000000000000000000" pitchFamily="2" charset="2"/>
              <a:buChar char="ü"/>
            </a:pPr>
            <a:r>
              <a:rPr lang="en-US" sz="1800" dirty="0"/>
              <a:t>Due to elevated inflation, it's anticipated that tight liquidity conditions will persist, even ease somewhat.</a:t>
            </a:r>
          </a:p>
          <a:p>
            <a:pPr>
              <a:lnSpc>
                <a:spcPct val="150000"/>
              </a:lnSpc>
              <a:buClr>
                <a:schemeClr val="tx1"/>
              </a:buClr>
              <a:buFont typeface="Wingdings" panose="05000000000000000000" pitchFamily="2" charset="2"/>
              <a:buChar char="ü"/>
            </a:pPr>
            <a:r>
              <a:rPr lang="en-US" sz="1800" dirty="0"/>
              <a:t>Most countries learned from the 2009 global crisis; now, banks are more robust, and private sector debt has not increased.</a:t>
            </a:r>
          </a:p>
          <a:p>
            <a:pPr>
              <a:lnSpc>
                <a:spcPct val="150000"/>
              </a:lnSpc>
              <a:buClr>
                <a:schemeClr val="tx1"/>
              </a:buClr>
              <a:buFont typeface="Wingdings" panose="05000000000000000000" pitchFamily="2" charset="2"/>
              <a:buChar char="ü"/>
            </a:pPr>
            <a:r>
              <a:rPr lang="en-US" sz="1800" dirty="0"/>
              <a:t>Nevertheless, budget deficits and high public debt pose significant challenges, leaving limited space for fiscal policy maneuvering.</a:t>
            </a:r>
          </a:p>
          <a:p>
            <a:pPr>
              <a:lnSpc>
                <a:spcPct val="150000"/>
              </a:lnSpc>
              <a:buClr>
                <a:schemeClr val="tx1"/>
              </a:buClr>
              <a:buFont typeface="Wingdings" panose="05000000000000000000" pitchFamily="2" charset="2"/>
              <a:buChar char="ü"/>
            </a:pPr>
            <a:r>
              <a:rPr lang="en-US" sz="1800" dirty="0"/>
              <a:t>Developing countries, in particular, are likely to confront challenges related to growth rates and public finances. </a:t>
            </a:r>
          </a:p>
          <a:p>
            <a:pPr marL="0" indent="0">
              <a:buClr>
                <a:schemeClr val="tx1"/>
              </a:buClr>
              <a:buNone/>
            </a:pPr>
            <a:endParaRPr lang="en-US" sz="18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B1C01F2-C22D-17B4-F3C2-4842450FADB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r>
              <a:rPr lang="tr-TR"/>
              <a:t>Slayt </a:t>
            </a:r>
            <a:fld id="{800B3A91-13D1-4478-9922-86F5EE8FD7B3}" type="slidenum">
              <a:rPr lang="tr-TR" smtClean="0"/>
              <a:pPr>
                <a:defRPr/>
              </a:pPr>
              <a:t>17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173887879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32F549D-CD74-5C07-B8E8-2A9F67F750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19468" y="762000"/>
            <a:ext cx="9966132" cy="838200"/>
          </a:xfrm>
        </p:spPr>
        <p:txBody>
          <a:bodyPr/>
          <a:lstStyle/>
          <a:p>
            <a:r>
              <a:rPr lang="tr-TR" dirty="0"/>
              <a:t>Content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1198CBE-A14C-984B-E589-C265202898B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819468" y="1752600"/>
            <a:ext cx="9966131" cy="4800600"/>
          </a:xfrm>
        </p:spPr>
        <p:txBody>
          <a:bodyPr/>
          <a:lstStyle/>
          <a:p>
            <a:pPr marL="0" indent="0">
              <a:lnSpc>
                <a:spcPct val="150000"/>
              </a:lnSpc>
              <a:buNone/>
            </a:pPr>
            <a:r>
              <a:rPr lang="en-US" dirty="0"/>
              <a:t>The historical global trends…</a:t>
            </a:r>
          </a:p>
          <a:p>
            <a:pPr lvl="1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000" dirty="0"/>
              <a:t>Growth</a:t>
            </a:r>
          </a:p>
          <a:p>
            <a:pPr lvl="1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000" dirty="0"/>
              <a:t>Investment</a:t>
            </a:r>
          </a:p>
          <a:p>
            <a:pPr lvl="1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000" dirty="0"/>
              <a:t>Inflation</a:t>
            </a:r>
          </a:p>
          <a:p>
            <a:pPr lvl="1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000" dirty="0"/>
              <a:t>Fiscal deficits and public debt</a:t>
            </a:r>
          </a:p>
          <a:p>
            <a:pPr lvl="1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000" dirty="0"/>
              <a:t>Private sector debt</a:t>
            </a:r>
          </a:p>
          <a:p>
            <a:pPr lvl="1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000" dirty="0"/>
              <a:t>Interest rates and risks</a:t>
            </a:r>
          </a:p>
          <a:p>
            <a:pPr lvl="1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000" dirty="0"/>
              <a:t>Conclusion</a:t>
            </a:r>
          </a:p>
          <a:p>
            <a:pPr lvl="1"/>
            <a:endParaRPr lang="en-US" dirty="0"/>
          </a:p>
          <a:p>
            <a:pPr lvl="1"/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B1C01F2-C22D-17B4-F3C2-4842450FADB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r>
              <a:rPr lang="tr-TR"/>
              <a:t>Slayt </a:t>
            </a:r>
            <a:fld id="{800B3A91-13D1-4478-9922-86F5EE8FD7B3}" type="slidenum">
              <a:rPr lang="tr-TR" smtClean="0"/>
              <a:pPr>
                <a:defRPr/>
              </a:pPr>
              <a:t>2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132040788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C498B6-8BCE-9700-49BA-D7DA528581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6274" y="788373"/>
            <a:ext cx="11044011" cy="618931"/>
          </a:xfrm>
        </p:spPr>
        <p:txBody>
          <a:bodyPr wrap="square" anchor="ctr">
            <a:normAutofit fontScale="90000"/>
          </a:bodyPr>
          <a:lstStyle/>
          <a:p>
            <a:pPr>
              <a:lnSpc>
                <a:spcPct val="90000"/>
              </a:lnSpc>
            </a:pPr>
            <a:r>
              <a:rPr lang="en-US" sz="2800" dirty="0"/>
              <a:t>GDP growth (%):</a:t>
            </a:r>
            <a:r>
              <a:rPr lang="en-US" sz="2500" dirty="0"/>
              <a:t> </a:t>
            </a:r>
            <a:r>
              <a:rPr lang="en-US" sz="2000" i="1" dirty="0">
                <a:solidFill>
                  <a:srgbClr val="C00000"/>
                </a:solidFill>
              </a:rPr>
              <a:t>There is a general slow-down, </a:t>
            </a:r>
            <a:r>
              <a:rPr lang="en-US" sz="2000" i="1" dirty="0" err="1">
                <a:solidFill>
                  <a:srgbClr val="C00000"/>
                </a:solidFill>
              </a:rPr>
              <a:t>emergings</a:t>
            </a:r>
            <a:r>
              <a:rPr lang="en-US" sz="2000" i="1" dirty="0">
                <a:solidFill>
                  <a:srgbClr val="C00000"/>
                </a:solidFill>
              </a:rPr>
              <a:t>/</a:t>
            </a:r>
            <a:r>
              <a:rPr lang="en-US" sz="2000" i="1" dirty="0" err="1">
                <a:solidFill>
                  <a:srgbClr val="C00000"/>
                </a:solidFill>
              </a:rPr>
              <a:t>developings</a:t>
            </a:r>
            <a:r>
              <a:rPr lang="en-US" sz="2000" i="1" dirty="0">
                <a:solidFill>
                  <a:srgbClr val="C00000"/>
                </a:solidFill>
              </a:rPr>
              <a:t> seem loose momentum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C0A3225-291C-9552-BAE6-CBCFCB84BF5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074400" y="3"/>
            <a:ext cx="1117600" cy="536575"/>
          </a:xfrm>
        </p:spPr>
        <p:txBody>
          <a:bodyPr wrap="square" anchor="ctr">
            <a:normAutofit/>
          </a:bodyPr>
          <a:lstStyle/>
          <a:p>
            <a:pPr>
              <a:spcAft>
                <a:spcPts val="600"/>
              </a:spcAft>
              <a:defRPr/>
            </a:pPr>
            <a:r>
              <a:rPr lang="tr-TR"/>
              <a:t>Slayt </a:t>
            </a:r>
            <a:fld id="{800B3A91-13D1-4478-9922-86F5EE8FD7B3}" type="slidenum">
              <a:rPr lang="tr-TR" smtClean="0"/>
              <a:pPr>
                <a:spcAft>
                  <a:spcPts val="600"/>
                </a:spcAft>
                <a:defRPr/>
              </a:pPr>
              <a:t>3</a:t>
            </a:fld>
            <a:endParaRPr lang="tr-TR"/>
          </a:p>
        </p:txBody>
      </p:sp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BC126E3B-25AA-44F1-9B38-911B1736BC8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167279596"/>
              </p:ext>
            </p:extLst>
          </p:nvPr>
        </p:nvGraphicFramePr>
        <p:xfrm>
          <a:off x="676275" y="1492898"/>
          <a:ext cx="10940337" cy="45767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6" name="Oval 5">
            <a:extLst>
              <a:ext uri="{FF2B5EF4-FFF2-40B4-BE49-F238E27FC236}">
                <a16:creationId xmlns:a16="http://schemas.microsoft.com/office/drawing/2014/main" id="{A9753B90-2C74-826A-6DF7-B8C1BA14564C}"/>
              </a:ext>
            </a:extLst>
          </p:cNvPr>
          <p:cNvSpPr/>
          <p:nvPr/>
        </p:nvSpPr>
        <p:spPr bwMode="auto">
          <a:xfrm>
            <a:off x="7581900" y="2976465"/>
            <a:ext cx="1647825" cy="2195609"/>
          </a:xfrm>
          <a:prstGeom prst="ellipse">
            <a:avLst/>
          </a:prstGeom>
          <a:noFill/>
          <a:ln w="19050" cap="flat" cmpd="sng" algn="ctr">
            <a:solidFill>
              <a:srgbClr val="C00000"/>
            </a:solidFill>
            <a:prstDash val="sysDot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40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EC55E64A-DA7F-4A1C-CE06-82BB6020614F}"/>
              </a:ext>
            </a:extLst>
          </p:cNvPr>
          <p:cNvSpPr/>
          <p:nvPr/>
        </p:nvSpPr>
        <p:spPr bwMode="auto">
          <a:xfrm>
            <a:off x="9677400" y="2901820"/>
            <a:ext cx="1647825" cy="2070229"/>
          </a:xfrm>
          <a:prstGeom prst="ellipse">
            <a:avLst/>
          </a:prstGeom>
          <a:noFill/>
          <a:ln w="19050" cap="flat" cmpd="sng" algn="ctr">
            <a:solidFill>
              <a:srgbClr val="00B050"/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40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82950567-2283-F1E9-8C06-7E9E504377F4}"/>
              </a:ext>
            </a:extLst>
          </p:cNvPr>
          <p:cNvSpPr/>
          <p:nvPr/>
        </p:nvSpPr>
        <p:spPr bwMode="auto">
          <a:xfrm>
            <a:off x="676274" y="6069627"/>
            <a:ext cx="5686425" cy="350223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600" dirty="0">
                <a:latin typeface="Arial" charset="0"/>
                <a:cs typeface="Arial" charset="0"/>
              </a:rPr>
              <a:t>Source: IMF World Economic Outlook Database</a:t>
            </a:r>
            <a:endParaRPr kumimoji="0" lang="en-US" sz="160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9774750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C498B6-8BCE-9700-49BA-D7DA528581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6400" y="762000"/>
            <a:ext cx="11379200" cy="536575"/>
          </a:xfrm>
        </p:spPr>
        <p:txBody>
          <a:bodyPr wrap="square" anchor="ctr">
            <a:noAutofit/>
          </a:bodyPr>
          <a:lstStyle/>
          <a:p>
            <a:r>
              <a:rPr lang="en-US" sz="2500" dirty="0"/>
              <a:t>GDP share in world in PPP (%): </a:t>
            </a:r>
            <a:r>
              <a:rPr lang="en-US" sz="1800" i="1" dirty="0">
                <a:solidFill>
                  <a:srgbClr val="C00000"/>
                </a:solidFill>
              </a:rPr>
              <a:t>Shift towards the rest of the world seems to be continue…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C0A3225-291C-9552-BAE6-CBCFCB84BF5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074400" y="3"/>
            <a:ext cx="1117600" cy="536575"/>
          </a:xfrm>
        </p:spPr>
        <p:txBody>
          <a:bodyPr wrap="square" anchor="ctr">
            <a:normAutofit/>
          </a:bodyPr>
          <a:lstStyle/>
          <a:p>
            <a:pPr>
              <a:spcAft>
                <a:spcPts val="600"/>
              </a:spcAft>
              <a:defRPr/>
            </a:pPr>
            <a:r>
              <a:rPr lang="tr-TR"/>
              <a:t>Slayt </a:t>
            </a:r>
            <a:fld id="{800B3A91-13D1-4478-9922-86F5EE8FD7B3}" type="slidenum">
              <a:rPr lang="tr-TR" smtClean="0"/>
              <a:pPr>
                <a:spcAft>
                  <a:spcPts val="600"/>
                </a:spcAft>
                <a:defRPr/>
              </a:pPr>
              <a:t>4</a:t>
            </a:fld>
            <a:endParaRPr lang="tr-TR"/>
          </a:p>
        </p:txBody>
      </p:sp>
      <p:graphicFrame>
        <p:nvGraphicFramePr>
          <p:cNvPr id="3" name="Chart 2">
            <a:extLst>
              <a:ext uri="{FF2B5EF4-FFF2-40B4-BE49-F238E27FC236}">
                <a16:creationId xmlns:a16="http://schemas.microsoft.com/office/drawing/2014/main" id="{755C0003-50FA-465F-A79F-1AB754C72545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51084234"/>
              </p:ext>
            </p:extLst>
          </p:nvPr>
        </p:nvGraphicFramePr>
        <p:xfrm>
          <a:off x="596347" y="1428750"/>
          <a:ext cx="10982739" cy="464087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77DB2E5B-F131-F7D5-D3CA-038A9C8311D8}"/>
              </a:ext>
            </a:extLst>
          </p:cNvPr>
          <p:cNvSpPr/>
          <p:nvPr/>
        </p:nvSpPr>
        <p:spPr bwMode="auto">
          <a:xfrm>
            <a:off x="676274" y="6069627"/>
            <a:ext cx="5686425" cy="350223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600" dirty="0">
                <a:latin typeface="Arial" charset="0"/>
                <a:cs typeface="Arial" charset="0"/>
              </a:rPr>
              <a:t>Source: IMF World Economic Outlook Database</a:t>
            </a:r>
            <a:endParaRPr kumimoji="0" lang="en-US" sz="160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0715118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C498B6-8BCE-9700-49BA-D7DA528581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1024" y="762000"/>
            <a:ext cx="11204575" cy="536575"/>
          </a:xfrm>
        </p:spPr>
        <p:txBody>
          <a:bodyPr wrap="square" anchor="ctr">
            <a:noAutofit/>
          </a:bodyPr>
          <a:lstStyle/>
          <a:p>
            <a:r>
              <a:rPr lang="en-US" sz="2500"/>
              <a:t>GDP share in world in PPP (%): </a:t>
            </a:r>
            <a:r>
              <a:rPr lang="en-US" sz="1800" i="1">
                <a:solidFill>
                  <a:srgbClr val="C00000"/>
                </a:solidFill>
              </a:rPr>
              <a:t>But only from Asia…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C0A3225-291C-9552-BAE6-CBCFCB84BF5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074400" y="3"/>
            <a:ext cx="1117600" cy="536575"/>
          </a:xfrm>
        </p:spPr>
        <p:txBody>
          <a:bodyPr wrap="square" anchor="ctr">
            <a:normAutofit/>
          </a:bodyPr>
          <a:lstStyle/>
          <a:p>
            <a:pPr>
              <a:spcAft>
                <a:spcPts val="600"/>
              </a:spcAft>
              <a:defRPr/>
            </a:pPr>
            <a:r>
              <a:rPr lang="tr-TR"/>
              <a:t>Slayt </a:t>
            </a:r>
            <a:fld id="{800B3A91-13D1-4478-9922-86F5EE8FD7B3}" type="slidenum">
              <a:rPr lang="tr-TR" smtClean="0"/>
              <a:pPr>
                <a:spcAft>
                  <a:spcPts val="600"/>
                </a:spcAft>
                <a:defRPr/>
              </a:pPr>
              <a:t>5</a:t>
            </a:fld>
            <a:endParaRPr lang="tr-TR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77DB2E5B-F131-F7D5-D3CA-038A9C8311D8}"/>
              </a:ext>
            </a:extLst>
          </p:cNvPr>
          <p:cNvSpPr/>
          <p:nvPr/>
        </p:nvSpPr>
        <p:spPr bwMode="auto">
          <a:xfrm>
            <a:off x="676274" y="6069627"/>
            <a:ext cx="5686425" cy="350223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600" dirty="0">
                <a:latin typeface="Arial" charset="0"/>
                <a:cs typeface="Arial" charset="0"/>
              </a:rPr>
              <a:t>Source: IMF World Economic Outlook Database</a:t>
            </a:r>
            <a:endParaRPr kumimoji="0" lang="en-US" sz="160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D54D5A10-A65D-47C7-8E7D-56F49DBAFDA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593892637"/>
              </p:ext>
            </p:extLst>
          </p:nvPr>
        </p:nvGraphicFramePr>
        <p:xfrm>
          <a:off x="581025" y="1381125"/>
          <a:ext cx="10944225" cy="45053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408913096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C498B6-8BCE-9700-49BA-D7DA528581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6400" y="762000"/>
            <a:ext cx="11379200" cy="689113"/>
          </a:xfrm>
        </p:spPr>
        <p:txBody>
          <a:bodyPr wrap="square" anchor="ctr">
            <a:normAutofit fontScale="90000"/>
          </a:bodyPr>
          <a:lstStyle/>
          <a:p>
            <a:pPr>
              <a:lnSpc>
                <a:spcPct val="90000"/>
              </a:lnSpc>
            </a:pPr>
            <a:r>
              <a:rPr lang="en-US" sz="2800" dirty="0"/>
              <a:t>Investment/GDP (%): </a:t>
            </a:r>
            <a:r>
              <a:rPr lang="en-US" sz="2000" i="1" dirty="0" err="1">
                <a:solidFill>
                  <a:srgbClr val="C00000"/>
                </a:solidFill>
              </a:rPr>
              <a:t>Emergings</a:t>
            </a:r>
            <a:r>
              <a:rPr lang="en-US" sz="2000" i="1" dirty="0">
                <a:solidFill>
                  <a:srgbClr val="C00000"/>
                </a:solidFill>
              </a:rPr>
              <a:t>/</a:t>
            </a:r>
            <a:r>
              <a:rPr lang="en-US" sz="2000" i="1" dirty="0" err="1">
                <a:solidFill>
                  <a:srgbClr val="C00000"/>
                </a:solidFill>
              </a:rPr>
              <a:t>developings</a:t>
            </a:r>
            <a:r>
              <a:rPr lang="en-US" sz="2000" i="1" dirty="0">
                <a:solidFill>
                  <a:srgbClr val="C00000"/>
                </a:solidFill>
              </a:rPr>
              <a:t> benefited low global interest rates, </a:t>
            </a:r>
            <a:r>
              <a:rPr lang="tr-TR" sz="2000" i="1" dirty="0" err="1">
                <a:solidFill>
                  <a:srgbClr val="C00000"/>
                </a:solidFill>
              </a:rPr>
              <a:t>will</a:t>
            </a:r>
            <a:r>
              <a:rPr lang="tr-TR" sz="2000" i="1" dirty="0">
                <a:solidFill>
                  <a:srgbClr val="C00000"/>
                </a:solidFill>
              </a:rPr>
              <a:t> </a:t>
            </a:r>
            <a:r>
              <a:rPr lang="tr-TR" sz="2000" i="1" dirty="0" err="1">
                <a:solidFill>
                  <a:srgbClr val="C00000"/>
                </a:solidFill>
              </a:rPr>
              <a:t>likely</a:t>
            </a:r>
            <a:r>
              <a:rPr lang="tr-TR" sz="2000" i="1" dirty="0">
                <a:solidFill>
                  <a:srgbClr val="C00000"/>
                </a:solidFill>
              </a:rPr>
              <a:t> </a:t>
            </a:r>
            <a:r>
              <a:rPr lang="tr-TR" sz="2000" i="1" dirty="0" err="1">
                <a:solidFill>
                  <a:srgbClr val="C00000"/>
                </a:solidFill>
              </a:rPr>
              <a:t>face</a:t>
            </a:r>
            <a:r>
              <a:rPr lang="tr-TR" sz="2000" i="1" dirty="0">
                <a:solidFill>
                  <a:srgbClr val="C00000"/>
                </a:solidFill>
              </a:rPr>
              <a:t> </a:t>
            </a:r>
            <a:r>
              <a:rPr lang="tr-TR" sz="2000" i="1" dirty="0" err="1">
                <a:solidFill>
                  <a:srgbClr val="C00000"/>
                </a:solidFill>
              </a:rPr>
              <a:t>with</a:t>
            </a:r>
            <a:r>
              <a:rPr lang="tr-TR" sz="2000" i="1" dirty="0">
                <a:solidFill>
                  <a:srgbClr val="C00000"/>
                </a:solidFill>
              </a:rPr>
              <a:t> </a:t>
            </a:r>
            <a:r>
              <a:rPr lang="tr-TR" sz="2000" i="1" dirty="0" err="1">
                <a:solidFill>
                  <a:srgbClr val="C00000"/>
                </a:solidFill>
              </a:rPr>
              <a:t>difficulties</a:t>
            </a:r>
            <a:r>
              <a:rPr lang="tr-TR" sz="2000" i="1" dirty="0">
                <a:solidFill>
                  <a:srgbClr val="C00000"/>
                </a:solidFill>
              </a:rPr>
              <a:t>.</a:t>
            </a:r>
            <a:endParaRPr lang="en-US" sz="2000" i="1" dirty="0">
              <a:solidFill>
                <a:srgbClr val="C00000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C0A3225-291C-9552-BAE6-CBCFCB84BF5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074400" y="3"/>
            <a:ext cx="1117600" cy="536575"/>
          </a:xfrm>
        </p:spPr>
        <p:txBody>
          <a:bodyPr wrap="square" anchor="ctr">
            <a:normAutofit/>
          </a:bodyPr>
          <a:lstStyle/>
          <a:p>
            <a:pPr>
              <a:spcAft>
                <a:spcPts val="600"/>
              </a:spcAft>
              <a:defRPr/>
            </a:pPr>
            <a:r>
              <a:rPr lang="tr-TR"/>
              <a:t>Slayt </a:t>
            </a:r>
            <a:fld id="{800B3A91-13D1-4478-9922-86F5EE8FD7B3}" type="slidenum">
              <a:rPr lang="tr-TR" smtClean="0"/>
              <a:pPr>
                <a:spcAft>
                  <a:spcPts val="600"/>
                </a:spcAft>
                <a:defRPr/>
              </a:pPr>
              <a:t>6</a:t>
            </a:fld>
            <a:endParaRPr lang="tr-TR"/>
          </a:p>
        </p:txBody>
      </p:sp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901D554F-DFD3-44EF-870C-0DC9D5218A4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91175360"/>
              </p:ext>
            </p:extLst>
          </p:nvPr>
        </p:nvGraphicFramePr>
        <p:xfrm>
          <a:off x="516835" y="1451113"/>
          <a:ext cx="11052313" cy="46448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544CD76C-4AC2-F6FB-1438-823641EEF5FC}"/>
              </a:ext>
            </a:extLst>
          </p:cNvPr>
          <p:cNvSpPr/>
          <p:nvPr/>
        </p:nvSpPr>
        <p:spPr bwMode="auto">
          <a:xfrm>
            <a:off x="676274" y="6069627"/>
            <a:ext cx="5686425" cy="350223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600" dirty="0">
                <a:latin typeface="Arial" charset="0"/>
                <a:cs typeface="Arial" charset="0"/>
              </a:rPr>
              <a:t>Source: IMF World Economic Outlook Database</a:t>
            </a:r>
            <a:endParaRPr kumimoji="0" lang="en-US" sz="160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3078514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C498B6-8BCE-9700-49BA-D7DA528581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6400" y="762000"/>
            <a:ext cx="11379200" cy="536575"/>
          </a:xfrm>
        </p:spPr>
        <p:txBody>
          <a:bodyPr wrap="square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en-US" sz="2500" dirty="0"/>
              <a:t>Inflation (%): </a:t>
            </a:r>
            <a:r>
              <a:rPr lang="en-US" sz="1800" i="1" dirty="0">
                <a:solidFill>
                  <a:srgbClr val="C00000"/>
                </a:solidFill>
              </a:rPr>
              <a:t>Seems temporary, but will take time to converge lower levels…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C0A3225-291C-9552-BAE6-CBCFCB84BF5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074400" y="3"/>
            <a:ext cx="1117600" cy="536575"/>
          </a:xfrm>
        </p:spPr>
        <p:txBody>
          <a:bodyPr wrap="square" anchor="ctr">
            <a:normAutofit/>
          </a:bodyPr>
          <a:lstStyle/>
          <a:p>
            <a:pPr>
              <a:spcAft>
                <a:spcPts val="600"/>
              </a:spcAft>
              <a:defRPr/>
            </a:pPr>
            <a:r>
              <a:rPr lang="tr-TR"/>
              <a:t>Slayt </a:t>
            </a:r>
            <a:fld id="{800B3A91-13D1-4478-9922-86F5EE8FD7B3}" type="slidenum">
              <a:rPr lang="tr-TR" smtClean="0"/>
              <a:pPr>
                <a:spcAft>
                  <a:spcPts val="600"/>
                </a:spcAft>
                <a:defRPr/>
              </a:pPr>
              <a:t>7</a:t>
            </a:fld>
            <a:endParaRPr lang="tr-TR"/>
          </a:p>
        </p:txBody>
      </p:sp>
      <p:graphicFrame>
        <p:nvGraphicFramePr>
          <p:cNvPr id="3" name="Chart 2">
            <a:extLst>
              <a:ext uri="{FF2B5EF4-FFF2-40B4-BE49-F238E27FC236}">
                <a16:creationId xmlns:a16="http://schemas.microsoft.com/office/drawing/2014/main" id="{9CEB3694-93AF-486E-8780-D5C3A171AA56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004728061"/>
              </p:ext>
            </p:extLst>
          </p:nvPr>
        </p:nvGraphicFramePr>
        <p:xfrm>
          <a:off x="406400" y="1461052"/>
          <a:ext cx="11162748" cy="46085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081780B4-6555-67F0-DBE6-AD5C82199A31}"/>
              </a:ext>
            </a:extLst>
          </p:cNvPr>
          <p:cNvSpPr/>
          <p:nvPr/>
        </p:nvSpPr>
        <p:spPr bwMode="auto">
          <a:xfrm>
            <a:off x="676274" y="6069627"/>
            <a:ext cx="5686425" cy="350223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600" dirty="0">
                <a:latin typeface="Arial" charset="0"/>
                <a:cs typeface="Arial" charset="0"/>
              </a:rPr>
              <a:t>Source: IMF World Economic Outlook Database</a:t>
            </a:r>
            <a:endParaRPr kumimoji="0" lang="en-US" sz="160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0304901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C498B6-8BCE-9700-49BA-D7DA528581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0550" y="762000"/>
            <a:ext cx="11195050" cy="390525"/>
          </a:xfrm>
        </p:spPr>
        <p:txBody>
          <a:bodyPr wrap="square" anchor="ctr">
            <a:normAutofit fontScale="90000"/>
          </a:bodyPr>
          <a:lstStyle/>
          <a:p>
            <a:pPr>
              <a:lnSpc>
                <a:spcPct val="90000"/>
              </a:lnSpc>
            </a:pPr>
            <a:r>
              <a:rPr lang="en-US" sz="2800" dirty="0"/>
              <a:t>Fiscal deficit/GDP (%): </a:t>
            </a:r>
            <a:r>
              <a:rPr lang="en-US" sz="2000" i="1" dirty="0">
                <a:solidFill>
                  <a:srgbClr val="C00000"/>
                </a:solidFill>
              </a:rPr>
              <a:t>Big problem for all countries, consolidation is necessary…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C0A3225-291C-9552-BAE6-CBCFCB84BF5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074400" y="3"/>
            <a:ext cx="1117600" cy="536575"/>
          </a:xfrm>
        </p:spPr>
        <p:txBody>
          <a:bodyPr wrap="square" anchor="ctr">
            <a:normAutofit/>
          </a:bodyPr>
          <a:lstStyle/>
          <a:p>
            <a:pPr>
              <a:spcAft>
                <a:spcPts val="600"/>
              </a:spcAft>
              <a:defRPr/>
            </a:pPr>
            <a:r>
              <a:rPr lang="tr-TR"/>
              <a:t>Slayt </a:t>
            </a:r>
            <a:fld id="{800B3A91-13D1-4478-9922-86F5EE8FD7B3}" type="slidenum">
              <a:rPr lang="tr-TR" smtClean="0"/>
              <a:pPr>
                <a:spcAft>
                  <a:spcPts val="600"/>
                </a:spcAft>
                <a:defRPr/>
              </a:pPr>
              <a:t>8</a:t>
            </a:fld>
            <a:endParaRPr lang="tr-TR"/>
          </a:p>
        </p:txBody>
      </p:sp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DE263070-43F3-48CE-B0D6-588B977BFB3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674525426"/>
              </p:ext>
            </p:extLst>
          </p:nvPr>
        </p:nvGraphicFramePr>
        <p:xfrm>
          <a:off x="590550" y="1295400"/>
          <a:ext cx="10839450" cy="48863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3EE8FCB1-E23B-0946-8969-C5B0A73B97F9}"/>
              </a:ext>
            </a:extLst>
          </p:cNvPr>
          <p:cNvSpPr/>
          <p:nvPr/>
        </p:nvSpPr>
        <p:spPr bwMode="auto">
          <a:xfrm>
            <a:off x="590550" y="6181725"/>
            <a:ext cx="5686425" cy="350223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600" dirty="0">
                <a:latin typeface="Arial" charset="0"/>
                <a:cs typeface="Arial" charset="0"/>
              </a:rPr>
              <a:t>Source: IMF World Economic Outlook Database</a:t>
            </a:r>
            <a:endParaRPr kumimoji="0" lang="en-US" sz="160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1164254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C498B6-8BCE-9700-49BA-D7DA528581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6400" y="762000"/>
            <a:ext cx="11379200" cy="536575"/>
          </a:xfrm>
        </p:spPr>
        <p:txBody>
          <a:bodyPr wrap="square" anchor="ctr">
            <a:normAutofit fontScale="90000"/>
          </a:bodyPr>
          <a:lstStyle/>
          <a:p>
            <a:pPr>
              <a:lnSpc>
                <a:spcPct val="90000"/>
              </a:lnSpc>
            </a:pPr>
            <a:r>
              <a:rPr lang="en-US" sz="2500"/>
              <a:t>Government debt/GDP (%): </a:t>
            </a:r>
            <a:r>
              <a:rPr lang="en-US" sz="2000" i="1">
                <a:solidFill>
                  <a:srgbClr val="C00000"/>
                </a:solidFill>
              </a:rPr>
              <a:t>Debt stocks has increased significantly; </a:t>
            </a:r>
            <a:r>
              <a:rPr lang="en-US" sz="2000" i="1" dirty="0" err="1">
                <a:solidFill>
                  <a:srgbClr val="C00000"/>
                </a:solidFill>
              </a:rPr>
              <a:t>outllook</a:t>
            </a:r>
            <a:r>
              <a:rPr lang="en-US" sz="2000" i="1" dirty="0">
                <a:solidFill>
                  <a:srgbClr val="C00000"/>
                </a:solidFill>
              </a:rPr>
              <a:t> is foggy-misty…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C0A3225-291C-9552-BAE6-CBCFCB84BF5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074400" y="3"/>
            <a:ext cx="1117600" cy="536575"/>
          </a:xfrm>
        </p:spPr>
        <p:txBody>
          <a:bodyPr wrap="square" anchor="ctr">
            <a:normAutofit/>
          </a:bodyPr>
          <a:lstStyle/>
          <a:p>
            <a:pPr>
              <a:spcAft>
                <a:spcPts val="600"/>
              </a:spcAft>
              <a:defRPr/>
            </a:pPr>
            <a:r>
              <a:rPr lang="tr-TR"/>
              <a:t>Slayt </a:t>
            </a:r>
            <a:fld id="{800B3A91-13D1-4478-9922-86F5EE8FD7B3}" type="slidenum">
              <a:rPr lang="tr-TR" smtClean="0"/>
              <a:pPr>
                <a:spcAft>
                  <a:spcPts val="600"/>
                </a:spcAft>
                <a:defRPr/>
              </a:pPr>
              <a:t>9</a:t>
            </a:fld>
            <a:endParaRPr lang="tr-TR"/>
          </a:p>
        </p:txBody>
      </p:sp>
      <p:graphicFrame>
        <p:nvGraphicFramePr>
          <p:cNvPr id="3" name="Chart 2">
            <a:extLst>
              <a:ext uri="{FF2B5EF4-FFF2-40B4-BE49-F238E27FC236}">
                <a16:creationId xmlns:a16="http://schemas.microsoft.com/office/drawing/2014/main" id="{AFD24CC4-B8DD-42B5-9565-2C53B985F65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211621384"/>
              </p:ext>
            </p:extLst>
          </p:nvPr>
        </p:nvGraphicFramePr>
        <p:xfrm>
          <a:off x="616226" y="1409700"/>
          <a:ext cx="10952922" cy="46863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B4AD3CBB-3CAA-A9CF-C7A3-1A39551206EA}"/>
              </a:ext>
            </a:extLst>
          </p:cNvPr>
          <p:cNvSpPr/>
          <p:nvPr/>
        </p:nvSpPr>
        <p:spPr bwMode="auto">
          <a:xfrm>
            <a:off x="704849" y="6096000"/>
            <a:ext cx="5686425" cy="350223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600" dirty="0">
                <a:latin typeface="Arial" charset="0"/>
                <a:cs typeface="Arial" charset="0"/>
              </a:rPr>
              <a:t>Source: IMF World Economic Outlook Database</a:t>
            </a:r>
            <a:endParaRPr kumimoji="0" lang="en-US" sz="160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9647859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AwnNGjcTN.R.iyW3lEW7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hV360jQg2fJ_BQRVnJO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9XhQd2SASw9fzUmOKtI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HWIElPATeqpM3QJmtjr4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0HxvaVASnK8_zlrmDeGe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bC2okPaRcGOMMNPsRzod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AwnNGjcTN.R.iyW3lEW7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hV360jQg2fJ_BQRVnJO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9XhQd2SASw9fzUmOKtI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HWIElPATeqpM3QJmtjr4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0HxvaVASnK8_zlrmDeGe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HWIElPATeqpM3QJmtjr4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bC2okPaRcGOMMNPsRzod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AwnNGjcTN.R.iyW3lEW7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hV360jQg2fJ_BQRVnJO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9XhQd2SASw9fzUmOKtI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HWIElPATeqpM3QJmtjr4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0HxvaVASnK8_zlrmDeGe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bC2okPaRcGOMMNPsRzod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AwnNGjcTN.R.iyW3lEW7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0HxvaVASnK8_zlrmDeGew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hV360jQg2fJ_BQRVnJO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9XhQd2SASw9fzUmOKtI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bC2okPaRcGOMMNPsRzod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PAV_tema">
  <a:themeElements>
    <a:clrScheme name="Default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Default Design">
      <a:majorFont>
        <a:latin typeface="Tahoma"/>
        <a:ea typeface=""/>
        <a:cs typeface="Arial"/>
      </a:majorFont>
      <a:minorFont>
        <a:latin typeface="Tahoma"/>
        <a:ea typeface=""/>
        <a:cs typeface="Arial"/>
      </a:minorFont>
    </a:fontScheme>
    <a:fmtScheme name="Ofis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40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40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TEPAV_tema" id="{6E50B4FD-C327-43A4-A0F4-B540C3ABF2C8}" vid="{775812C8-3EF0-4FFC-9F3B-E75BC120E6B3}"/>
    </a:ext>
  </a:extLst>
</a:theme>
</file>

<file path=ppt/theme/theme2.xml><?xml version="1.0" encoding="utf-8"?>
<a:theme xmlns:a="http://schemas.openxmlformats.org/drawingml/2006/main" name="Tepav_tr4">
  <a:themeElements>
    <a:clrScheme name="Default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Default Design">
      <a:majorFont>
        <a:latin typeface="Tahoma"/>
        <a:ea typeface=""/>
        <a:cs typeface="Arial"/>
      </a:majorFont>
      <a:minorFont>
        <a:latin typeface="Tahoma"/>
        <a:ea typeface=""/>
        <a:cs typeface="Arial"/>
      </a:minorFont>
    </a:fontScheme>
    <a:fmtScheme name="Ofis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40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40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Tepav_tr4" id="{449FD6D3-7CE4-4AF9-89B9-D5EE5505BCA2}" vid="{D34CD5BC-E7EA-4AE7-80A6-232D02DF7B9C}"/>
    </a:ext>
  </a:extLst>
</a:theme>
</file>

<file path=ppt/theme/theme3.xml><?xml version="1.0" encoding="utf-8"?>
<a:theme xmlns:a="http://schemas.openxmlformats.org/drawingml/2006/main" name="1_TEPAV_tema">
  <a:themeElements>
    <a:clrScheme name="Default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Default Design">
      <a:majorFont>
        <a:latin typeface="Tahoma"/>
        <a:ea typeface=""/>
        <a:cs typeface="Arial"/>
      </a:majorFont>
      <a:minorFont>
        <a:latin typeface="Tahoma"/>
        <a:ea typeface=""/>
        <a:cs typeface="Arial"/>
      </a:minorFont>
    </a:fontScheme>
    <a:fmtScheme name="Ofis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40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40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TEPAV_tema" id="{6E50B4FD-C327-43A4-A0F4-B540C3ABF2C8}" vid="{775812C8-3EF0-4FFC-9F3B-E75BC120E6B3}"/>
    </a:ext>
  </a:extLst>
</a:theme>
</file>

<file path=ppt/theme/theme4.xml><?xml version="1.0" encoding="utf-8"?>
<a:theme xmlns:a="http://schemas.openxmlformats.org/drawingml/2006/main" name="1_Tepav_tr4">
  <a:themeElements>
    <a:clrScheme name="Default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Default Design">
      <a:majorFont>
        <a:latin typeface="Tahoma"/>
        <a:ea typeface=""/>
        <a:cs typeface="Arial"/>
      </a:majorFont>
      <a:minorFont>
        <a:latin typeface="Tahoma"/>
        <a:ea typeface=""/>
        <a:cs typeface="Arial"/>
      </a:minorFont>
    </a:fontScheme>
    <a:fmtScheme name="Ofis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40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40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Tepav_tr4" id="{449FD6D3-7CE4-4AF9-89B9-D5EE5505BCA2}" vid="{D34CD5BC-E7EA-4AE7-80A6-232D02DF7B9C}"/>
    </a:ext>
  </a:extLst>
</a:theme>
</file>

<file path=ppt/theme/theme5.xml><?xml version="1.0" encoding="utf-8"?>
<a:theme xmlns:a="http://schemas.openxmlformats.org/drawingml/2006/main" name="2_TEPAV_tema">
  <a:themeElements>
    <a:clrScheme name="Default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Default Design">
      <a:majorFont>
        <a:latin typeface="Tahoma"/>
        <a:ea typeface=""/>
        <a:cs typeface="Arial"/>
      </a:majorFont>
      <a:minorFont>
        <a:latin typeface="Tahoma"/>
        <a:ea typeface=""/>
        <a:cs typeface="Arial"/>
      </a:minorFont>
    </a:fontScheme>
    <a:fmtScheme name="Ofis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40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40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TEPAV_tema" id="{6E50B4FD-C327-43A4-A0F4-B540C3ABF2C8}" vid="{775812C8-3EF0-4FFC-9F3B-E75BC120E6B3}"/>
    </a:ext>
  </a:extLst>
</a:theme>
</file>

<file path=ppt/theme/theme6.xml><?xml version="1.0" encoding="utf-8"?>
<a:theme xmlns:a="http://schemas.openxmlformats.org/drawingml/2006/main" name="2_Tepav_tr4">
  <a:themeElements>
    <a:clrScheme name="Default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Default Design">
      <a:majorFont>
        <a:latin typeface="Tahoma"/>
        <a:ea typeface=""/>
        <a:cs typeface="Arial"/>
      </a:majorFont>
      <a:minorFont>
        <a:latin typeface="Tahoma"/>
        <a:ea typeface=""/>
        <a:cs typeface="Arial"/>
      </a:minorFont>
    </a:fontScheme>
    <a:fmtScheme name="Ofis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40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40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Tepav_tr4" id="{449FD6D3-7CE4-4AF9-89B9-D5EE5505BCA2}" vid="{D34CD5BC-E7EA-4AE7-80A6-232D02DF7B9C}"/>
    </a:ext>
  </a:extLst>
</a:theme>
</file>

<file path=ppt/theme/theme7.xml><?xml version="1.0" encoding="utf-8"?>
<a:theme xmlns:a="http://schemas.openxmlformats.org/drawingml/2006/main" name="3_TEPAV_tema">
  <a:themeElements>
    <a:clrScheme name="Default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Default Design">
      <a:majorFont>
        <a:latin typeface="Tahoma"/>
        <a:ea typeface=""/>
        <a:cs typeface="Arial"/>
      </a:majorFont>
      <a:minorFont>
        <a:latin typeface="Tahoma"/>
        <a:ea typeface=""/>
        <a:cs typeface="Arial"/>
      </a:minorFont>
    </a:fontScheme>
    <a:fmtScheme name="Ofis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40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40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TEPAV_tema" id="{6E50B4FD-C327-43A4-A0F4-B540C3ABF2C8}" vid="{775812C8-3EF0-4FFC-9F3B-E75BC120E6B3}"/>
    </a:ext>
  </a:extLst>
</a:theme>
</file>

<file path=ppt/theme/theme8.xml><?xml version="1.0" encoding="utf-8"?>
<a:theme xmlns:a="http://schemas.openxmlformats.org/drawingml/2006/main" name="3_Tepav_tr4">
  <a:themeElements>
    <a:clrScheme name="Default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Default Design">
      <a:majorFont>
        <a:latin typeface="Tahoma"/>
        <a:ea typeface=""/>
        <a:cs typeface="Arial"/>
      </a:majorFont>
      <a:minorFont>
        <a:latin typeface="Tahoma"/>
        <a:ea typeface=""/>
        <a:cs typeface="Arial"/>
      </a:minorFont>
    </a:fontScheme>
    <a:fmtScheme name="Ofis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40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40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Tepav_tr4" id="{449FD6D3-7CE4-4AF9-89B9-D5EE5505BCA2}" vid="{D34CD5BC-E7EA-4AE7-80A6-232D02DF7B9C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0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5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6.xml><?xml version="1.0" encoding="utf-8"?>
<a:themeOverride xmlns:a="http://schemas.openxmlformats.org/drawingml/2006/main">
  <a:clrScheme name="Office 2007 - 2010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 2007 - 2010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 2007 - 2010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5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6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7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8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9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87D5E48BF4DD6A419E038B2FC78EF7E0" ma:contentTypeVersion="0" ma:contentTypeDescription="Create a new document." ma:contentTypeScope="" ma:versionID="40e8426f996984004f80ecb7a5b38cb2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711a027f7dbf56295ce2ec4b75b3b913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CF770DB4-3620-4999-928B-EFD0C1095CD8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2917B88D-598B-4EE4-BE8C-D03EA40B3838}">
  <ds:schemaRefs>
    <ds:schemaRef ds:uri="http://purl.org/dc/terms/"/>
    <ds:schemaRef ds:uri="http://purl.org/dc/dcmitype/"/>
    <ds:schemaRef ds:uri="http://schemas.microsoft.com/office/infopath/2007/PartnerControls"/>
    <ds:schemaRef ds:uri="http://purl.org/dc/elements/1.1/"/>
    <ds:schemaRef ds:uri="http://schemas.microsoft.com/office/2006/documentManagement/types"/>
    <ds:schemaRef ds:uri="http://schemas.openxmlformats.org/package/2006/metadata/core-properties"/>
    <ds:schemaRef ds:uri="http://schemas.microsoft.com/office/2006/metadata/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7F3D1DFA-C8A8-43BF-A2F2-4CA74B49FE6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TEPAV_tema</Template>
  <TotalTime>7533</TotalTime>
  <Words>516</Words>
  <Application>Microsoft Office PowerPoint</Application>
  <PresentationFormat>Widescreen</PresentationFormat>
  <Paragraphs>69</Paragraphs>
  <Slides>17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8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7</vt:i4>
      </vt:variant>
    </vt:vector>
  </HeadingPairs>
  <TitlesOfParts>
    <vt:vector size="31" baseType="lpstr">
      <vt:lpstr>Arial</vt:lpstr>
      <vt:lpstr>Ariel</vt:lpstr>
      <vt:lpstr>Calibri</vt:lpstr>
      <vt:lpstr>Tahoma</vt:lpstr>
      <vt:lpstr>Wingdings</vt:lpstr>
      <vt:lpstr>TEPAV_tema</vt:lpstr>
      <vt:lpstr>Tepav_tr4</vt:lpstr>
      <vt:lpstr>1_TEPAV_tema</vt:lpstr>
      <vt:lpstr>1_Tepav_tr4</vt:lpstr>
      <vt:lpstr>2_TEPAV_tema</vt:lpstr>
      <vt:lpstr>2_Tepav_tr4</vt:lpstr>
      <vt:lpstr>3_TEPAV_tema</vt:lpstr>
      <vt:lpstr>3_Tepav_tr4</vt:lpstr>
      <vt:lpstr>think-cell Slide</vt:lpstr>
      <vt:lpstr>Global Trends  and  Macro-financial Challenges</vt:lpstr>
      <vt:lpstr>Content</vt:lpstr>
      <vt:lpstr>GDP growth (%): There is a general slow-down, emergings/developings seem loose momentum.</vt:lpstr>
      <vt:lpstr>GDP share in world in PPP (%): Shift towards the rest of the world seems to be continue…</vt:lpstr>
      <vt:lpstr>GDP share in world in PPP (%): But only from Asia…</vt:lpstr>
      <vt:lpstr>Investment/GDP (%): Emergings/developings benefited low global interest rates, will likely face with difficulties.</vt:lpstr>
      <vt:lpstr>Inflation (%): Seems temporary, but will take time to converge lower levels…</vt:lpstr>
      <vt:lpstr>Fiscal deficit/GDP (%): Big problem for all countries, consolidation is necessary…</vt:lpstr>
      <vt:lpstr>Government debt/GDP (%): Debt stocks has increased significantly; outllook is foggy-misty…</vt:lpstr>
      <vt:lpstr>Non-financial private sector debt/GDP (%): Relatively more resilient…</vt:lpstr>
      <vt:lpstr>Non-financial private sector debt/GDP (%): 44 country average, relatively more resilient…</vt:lpstr>
      <vt:lpstr>Interest rates (%): After years of negative real interest rates; debt will be more costly…</vt:lpstr>
      <vt:lpstr>Real interest rates (%): Our memories with positive real interest rates are not pleasant...     </vt:lpstr>
      <vt:lpstr>CDS (basis points): However, most of the emerging CDSs haven’t been affected...     </vt:lpstr>
      <vt:lpstr>Türkiye: One of the lowest public debt and relatively higher growth…     </vt:lpstr>
      <vt:lpstr>Türkiye: But, has inflation, dollarization and net reserve problem; started/trying to solve…   </vt:lpstr>
      <vt:lpstr>Conclus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Global Trends  and  Macro-financial Challenges</dc:title>
  <dc:creator>Ali Cufadar</dc:creator>
  <cp:lastModifiedBy>Ali Cufadar</cp:lastModifiedBy>
  <cp:revision>19</cp:revision>
  <dcterms:created xsi:type="dcterms:W3CDTF">2023-11-18T19:21:08Z</dcterms:created>
  <dcterms:modified xsi:type="dcterms:W3CDTF">2023-11-29T06:42:5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7D5E48BF4DD6A419E038B2FC78EF7E0</vt:lpwstr>
  </property>
</Properties>
</file>